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drawings/drawing2.xml" ContentType="application/vnd.openxmlformats-officedocument.drawingml.chartshapes+xml"/>
  <Override PartName="/ppt/notesSlides/notesSlide38.xml" ContentType="application/vnd.openxmlformats-officedocument.presentationml.notes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charts/chart13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notesSlides/notesSlide23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ustom.xml" ContentType="application/vnd.openxmlformats-officedocument.custom-properties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notesSlides/notesSlide30.xml" ContentType="application/vnd.openxmlformats-officedocument.presentationml.notesSlide+xml"/>
  <Override PartName="/ppt/diagrams/colors8.xml" ContentType="application/vnd.openxmlformats-officedocument.drawingml.diagramColors+xml"/>
  <Override PartName="/ppt/diagrams/layout1.xml" ContentType="application/vnd.openxmlformats-officedocument.drawingml.diagramLayout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Default Extension="xlsx" ContentType="application/vnd.openxmlformats-officedocument.spreadsheetml.sheet"/>
  <Override PartName="/ppt/diagrams/drawing7.xml" ContentType="application/vnd.ms-office.drawingml.diagramDrawing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diagrams/drawing3.xml" ContentType="application/vnd.ms-office.drawingml.diagramDrawing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Override PartName="/ppt/notesSlides/notesSlide17.xml" ContentType="application/vnd.openxmlformats-officedocument.presentationml.notesSlide+xml"/>
  <Default Extension="emf" ContentType="image/x-emf"/>
  <Override PartName="/ppt/notesSlides/notesSlide28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ppt/theme/themeOverride2.xml" ContentType="application/vnd.openxmlformats-officedocument.themeOverride+xml"/>
  <Override PartName="/ppt/notesSlides/notesSlide2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diagrams/data7.xml" ContentType="application/vnd.openxmlformats-officedocument.drawingml.diagramData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notesSlides/notesSlide42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diagrams/layout2.xml" ContentType="application/vnd.openxmlformats-officedocument.drawingml.diagramLayout+xml"/>
  <Default Extension="vml" ContentType="application/vnd.openxmlformats-officedocument.vmlDrawing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Override PartName="/ppt/charts/chart10.xml" ContentType="application/vnd.openxmlformats-officedocument.drawingml.chart+xml"/>
  <Override PartName="/ppt/diagrams/drawing8.xml" ContentType="application/vnd.ms-office.drawingml.diagramDrawing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charts/chart4.xml" ContentType="application/vnd.openxmlformats-officedocument.drawingml.chart+xml"/>
  <Override PartName="/ppt/diagrams/quickStyle8.xml" ContentType="application/vnd.openxmlformats-officedocument.drawingml.diagramStyl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Default Extension="xls" ContentType="application/vnd.ms-excel"/>
  <Override PartName="/ppt/notesSlides/notesSlide18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diagrams/layout7.xml" ContentType="application/vnd.openxmlformats-officedocument.drawingml.diagramLayout+xml"/>
  <Override PartName="/ppt/notesSlides/notesSlide25.xml" ContentType="application/vnd.openxmlformats-officedocument.presentationml.notesSlide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diagrams/layout3.xml" ContentType="application/vnd.openxmlformats-officedocument.drawingml.diagramLayout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notesSlides/notesSlide21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colors6.xml" ContentType="application/vnd.openxmlformats-officedocument.drawingml.diagramColor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drawings/drawing5.xml" ContentType="application/vnd.openxmlformats-officedocument.drawingml.chartshapes+xml"/>
  <Override PartName="/ppt/diagrams/drawing5.xml" ContentType="application/vnd.ms-office.drawingml.diagramDrawing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notesSlides/notesSlide19.xml" ContentType="application/vnd.openxmlformats-officedocument.presentationml.notesSlide+xml"/>
  <Override PartName="/ppt/drawings/drawing1.xml" ContentType="application/vnd.openxmlformats-officedocument.drawingml.chartshapes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diagrams/quickStyle1.xml" ContentType="application/vnd.openxmlformats-officedocument.drawingml.diagramStyle+xml"/>
  <Override PartName="/ppt/theme/themeOverride4.xml" ContentType="application/vnd.openxmlformats-officedocument.themeOverride+xml"/>
  <Override PartName="/ppt/diagrams/layout8.xml" ContentType="application/vnd.openxmlformats-officedocument.drawingml.diagramLayout+xml"/>
  <Override PartName="/ppt/notesSlides/notesSlide37.xml" ContentType="application/vnd.openxmlformats-officedocument.presentationml.notesSlid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diagrams/layout4.xml" ContentType="application/vnd.openxmlformats-officedocument.drawingml.diagramLayout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charts/chart12.xml" ContentType="application/vnd.openxmlformats-officedocument.drawingml.chart+xml"/>
  <Override PartName="/ppt/diagrams/data5.xml" ContentType="application/vnd.openxmlformats-officedocument.drawingml.diagramData+xml"/>
  <Override PartName="/ppt/notesSlides/notesSlide11.xml" ContentType="application/vnd.openxmlformats-officedocument.presentationml.notesSlide+xml"/>
  <Override PartName="/ppt/diagrams/colors7.xml" ContentType="application/vnd.openxmlformats-officedocument.drawingml.diagramColors+xml"/>
  <Override PartName="/ppt/charts/chart6.xml" ContentType="application/vnd.openxmlformats-officedocument.drawingml.chart+xml"/>
  <Override PartName="/ppt/notesSlides/notesSlide40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rawing6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4"/>
  </p:notesMasterIdLst>
  <p:handoutMasterIdLst>
    <p:handoutMasterId r:id="rId45"/>
  </p:handoutMasterIdLst>
  <p:sldIdLst>
    <p:sldId id="490" r:id="rId2"/>
    <p:sldId id="398" r:id="rId3"/>
    <p:sldId id="493" r:id="rId4"/>
    <p:sldId id="519" r:id="rId5"/>
    <p:sldId id="532" r:id="rId6"/>
    <p:sldId id="518" r:id="rId7"/>
    <p:sldId id="438" r:id="rId8"/>
    <p:sldId id="484" r:id="rId9"/>
    <p:sldId id="520" r:id="rId10"/>
    <p:sldId id="440" r:id="rId11"/>
    <p:sldId id="485" r:id="rId12"/>
    <p:sldId id="494" r:id="rId13"/>
    <p:sldId id="522" r:id="rId14"/>
    <p:sldId id="523" r:id="rId15"/>
    <p:sldId id="524" r:id="rId16"/>
    <p:sldId id="444" r:id="rId17"/>
    <p:sldId id="445" r:id="rId18"/>
    <p:sldId id="525" r:id="rId19"/>
    <p:sldId id="526" r:id="rId20"/>
    <p:sldId id="472" r:id="rId21"/>
    <p:sldId id="448" r:id="rId22"/>
    <p:sldId id="488" r:id="rId23"/>
    <p:sldId id="527" r:id="rId24"/>
    <p:sldId id="495" r:id="rId25"/>
    <p:sldId id="497" r:id="rId26"/>
    <p:sldId id="498" r:id="rId27"/>
    <p:sldId id="535" r:id="rId28"/>
    <p:sldId id="500" r:id="rId29"/>
    <p:sldId id="501" r:id="rId30"/>
    <p:sldId id="502" r:id="rId31"/>
    <p:sldId id="503" r:id="rId32"/>
    <p:sldId id="504" r:id="rId33"/>
    <p:sldId id="506" r:id="rId34"/>
    <p:sldId id="507" r:id="rId35"/>
    <p:sldId id="508" r:id="rId36"/>
    <p:sldId id="509" r:id="rId37"/>
    <p:sldId id="528" r:id="rId38"/>
    <p:sldId id="537" r:id="rId39"/>
    <p:sldId id="529" r:id="rId40"/>
    <p:sldId id="538" r:id="rId41"/>
    <p:sldId id="539" r:id="rId42"/>
    <p:sldId id="540" r:id="rId43"/>
  </p:sldIdLst>
  <p:sldSz cx="9144000" cy="6858000" type="screen4x3"/>
  <p:notesSz cx="7010400" cy="92964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FB9705"/>
    <a:srgbClr val="FF99CC"/>
    <a:srgbClr val="FF9900"/>
    <a:srgbClr val="9954CC"/>
    <a:srgbClr val="A7A7FF"/>
    <a:srgbClr val="0099FF"/>
    <a:srgbClr val="FFFF00"/>
    <a:srgbClr val="EEEE1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3163" autoAdjust="0"/>
    <p:restoredTop sz="92769" autoAdjust="0"/>
  </p:normalViewPr>
  <p:slideViewPr>
    <p:cSldViewPr>
      <p:cViewPr varScale="1">
        <p:scale>
          <a:sx n="69" d="100"/>
          <a:sy n="69" d="100"/>
        </p:scale>
        <p:origin x="-624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2" d="100"/>
        <a:sy n="62" d="100"/>
      </p:scale>
      <p:origin x="0" y="1968"/>
    </p:cViewPr>
  </p:sorterViewPr>
  <p:notesViewPr>
    <p:cSldViewPr>
      <p:cViewPr>
        <p:scale>
          <a:sx n="90" d="100"/>
          <a:sy n="90" d="100"/>
        </p:scale>
        <p:origin x="-966" y="1368"/>
      </p:cViewPr>
      <p:guideLst>
        <p:guide orient="horz" pos="2928"/>
        <p:guide pos="2208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Office_Excel_Worksheet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Office_Excel_Worksheet2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Office_Excel_Worksheet3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00076953\Local%20Settings\Temporary%20Internet%20Files\Content.Outlook\5OOTMEGB\CH-INTERVIEW-ANNEXURE-2012-13.xls" TargetMode="External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00076953\Local%20Settings\Temporary%20Internet%20Files\Content.Outlook\5OOTMEGB\PPT%2028%2005%202013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00076953\Local%20Settings\Temporary%20Internet%20Files\Content.Outlook\5OOTMEGB\PPT%2028%2005%202013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Documents%20and%20Settings\00029531\Desktop\Mktg%20-%20Sales%20and%20Mkt%20Sharet.xlsx" TargetMode="External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00076953\Desktop\Book1.xls" TargetMode="External"/><Relationship Id="rId1" Type="http://schemas.openxmlformats.org/officeDocument/2006/relationships/themeOverride" Target="../theme/themeOverride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C:\Documents%20and%20Settings\00028479\Desktop\New%20Microsoft%20Office%20Excel%202007%20Workbook%20(3).xlsx" TargetMode="External"/><Relationship Id="rId1" Type="http://schemas.openxmlformats.org/officeDocument/2006/relationships/themeOverride" Target="../theme/themeOverride4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title>
      <c:tx>
        <c:rich>
          <a:bodyPr/>
          <a:lstStyle/>
          <a:p>
            <a:pPr>
              <a:defRPr sz="2000"/>
            </a:pPr>
            <a:r>
              <a:rPr lang="en-US" sz="2000" dirty="0" smtClean="0"/>
              <a:t>Economy vs.</a:t>
            </a:r>
            <a:r>
              <a:rPr lang="en-US" sz="2000" baseline="0" dirty="0" smtClean="0"/>
              <a:t> POL consumption</a:t>
            </a:r>
            <a:endParaRPr lang="en-US" sz="2000" dirty="0"/>
          </a:p>
        </c:rich>
      </c:tx>
      <c:layout/>
    </c:title>
    <c:plotArea>
      <c:layout>
        <c:manualLayout>
          <c:layoutTarget val="inner"/>
          <c:xMode val="edge"/>
          <c:yMode val="edge"/>
          <c:x val="3.0746057185329856E-2"/>
          <c:y val="0.26267889590724436"/>
          <c:w val="0.93328664669128769"/>
          <c:h val="0.63548527587897663"/>
        </c:manualLayout>
      </c:layout>
      <c:barChart>
        <c:barDir val="col"/>
        <c:grouping val="clustered"/>
        <c:ser>
          <c:idx val="1"/>
          <c:order val="1"/>
          <c:tx>
            <c:strRef>
              <c:f>Sheet4!$H$8</c:f>
              <c:strCache>
                <c:ptCount val="1"/>
                <c:pt idx="0">
                  <c:v>Oil Consumption Growth (%)</c:v>
                </c:pt>
              </c:strCache>
            </c:strRef>
          </c:tx>
          <c:spPr>
            <a:solidFill>
              <a:srgbClr val="9954CC"/>
            </a:solidFill>
            <a:scene3d>
              <a:camera prst="orthographicFront"/>
              <a:lightRig rig="threePt" dir="t"/>
            </a:scene3d>
            <a:sp3d>
              <a:bevelT w="127000"/>
            </a:sp3d>
          </c:spPr>
          <c:dLbls>
            <c:txPr>
              <a:bodyPr/>
              <a:lstStyle/>
              <a:p>
                <a:pPr>
                  <a:defRPr sz="1600" b="1">
                    <a:solidFill>
                      <a:srgbClr val="FFFF00"/>
                    </a:solidFill>
                  </a:defRPr>
                </a:pPr>
                <a:endParaRPr lang="en-US"/>
              </a:p>
            </c:txPr>
            <c:dLblPos val="ctr"/>
            <c:showVal val="1"/>
          </c:dLbls>
          <c:cat>
            <c:strRef>
              <c:f>Sheet4!$I$6:$P$6</c:f>
              <c:strCache>
                <c:ptCount val="8"/>
                <c:pt idx="0">
                  <c:v>2005-06   </c:v>
                </c:pt>
                <c:pt idx="1">
                  <c:v>2006-07   </c:v>
                </c:pt>
                <c:pt idx="2">
                  <c:v>2007-08   </c:v>
                </c:pt>
                <c:pt idx="3">
                  <c:v>2008-09   </c:v>
                </c:pt>
                <c:pt idx="4">
                  <c:v>2009-10   </c:v>
                </c:pt>
                <c:pt idx="5">
                  <c:v>2010-11   </c:v>
                </c:pt>
                <c:pt idx="6">
                  <c:v>2011-12   </c:v>
                </c:pt>
                <c:pt idx="7">
                  <c:v>  2012-13</c:v>
                </c:pt>
              </c:strCache>
            </c:strRef>
          </c:cat>
          <c:val>
            <c:numRef>
              <c:f>Sheet4!$I$8:$P$8</c:f>
              <c:numCache>
                <c:formatCode>General</c:formatCode>
                <c:ptCount val="8"/>
                <c:pt idx="0">
                  <c:v>1.4</c:v>
                </c:pt>
                <c:pt idx="1">
                  <c:v>6.7</c:v>
                </c:pt>
                <c:pt idx="2">
                  <c:v>6.8</c:v>
                </c:pt>
                <c:pt idx="3">
                  <c:v>4.5</c:v>
                </c:pt>
                <c:pt idx="4">
                  <c:v>3.5</c:v>
                </c:pt>
                <c:pt idx="5">
                  <c:v>2.9</c:v>
                </c:pt>
                <c:pt idx="6">
                  <c:v>5</c:v>
                </c:pt>
                <c:pt idx="7">
                  <c:v>4.9000000000000004</c:v>
                </c:pt>
              </c:numCache>
            </c:numRef>
          </c:val>
        </c:ser>
        <c:axId val="62193664"/>
        <c:axId val="62195200"/>
      </c:barChart>
      <c:lineChart>
        <c:grouping val="standard"/>
        <c:ser>
          <c:idx val="0"/>
          <c:order val="0"/>
          <c:tx>
            <c:strRef>
              <c:f>Sheet4!$H$7</c:f>
              <c:strCache>
                <c:ptCount val="1"/>
                <c:pt idx="0">
                  <c:v>GDP Growth (%)</c:v>
                </c:pt>
              </c:strCache>
            </c:strRef>
          </c:tx>
          <c:spPr>
            <a:ln w="63500"/>
          </c:spPr>
          <c:marker>
            <c:symbol val="none"/>
          </c:marker>
          <c:dLbls>
            <c:dLbl>
              <c:idx val="2"/>
              <c:layout>
                <c:manualLayout>
                  <c:x val="-2.9126193296634378E-2"/>
                  <c:y val="-9.804014882755073E-2"/>
                </c:manualLayout>
              </c:layout>
              <c:dLblPos val="r"/>
              <c:showVal val="1"/>
            </c:dLbl>
            <c:dLbl>
              <c:idx val="6"/>
              <c:layout>
                <c:manualLayout>
                  <c:x val="-2.7651267042947226E-2"/>
                  <c:y val="-0.1310071817945834"/>
                </c:manualLayout>
              </c:layout>
              <c:dLblPos val="r"/>
              <c:showVal val="1"/>
            </c:dLbl>
            <c:dLbl>
              <c:idx val="7"/>
              <c:layout>
                <c:manualLayout>
                  <c:x val="1.3930620398114029E-2"/>
                  <c:y val="2.2838972051570677E-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1600" b="1">
                    <a:solidFill>
                      <a:srgbClr val="0070C0"/>
                    </a:solidFill>
                  </a:defRPr>
                </a:pPr>
                <a:endParaRPr lang="en-US"/>
              </a:p>
            </c:txPr>
            <c:dLblPos val="t"/>
            <c:showVal val="1"/>
          </c:dLbls>
          <c:cat>
            <c:strRef>
              <c:f>Sheet4!$I$6:$P$6</c:f>
              <c:strCache>
                <c:ptCount val="8"/>
                <c:pt idx="0">
                  <c:v>2005-06   </c:v>
                </c:pt>
                <c:pt idx="1">
                  <c:v>2006-07   </c:v>
                </c:pt>
                <c:pt idx="2">
                  <c:v>2007-08   </c:v>
                </c:pt>
                <c:pt idx="3">
                  <c:v>2008-09   </c:v>
                </c:pt>
                <c:pt idx="4">
                  <c:v>2009-10   </c:v>
                </c:pt>
                <c:pt idx="5">
                  <c:v>2010-11   </c:v>
                </c:pt>
                <c:pt idx="6">
                  <c:v>2011-12   </c:v>
                </c:pt>
                <c:pt idx="7">
                  <c:v>  2012-13</c:v>
                </c:pt>
              </c:strCache>
            </c:strRef>
          </c:cat>
          <c:val>
            <c:numRef>
              <c:f>Sheet4!$I$7:$P$7</c:f>
              <c:numCache>
                <c:formatCode>General</c:formatCode>
                <c:ptCount val="8"/>
                <c:pt idx="0">
                  <c:v>9.5</c:v>
                </c:pt>
                <c:pt idx="1">
                  <c:v>9.6</c:v>
                </c:pt>
                <c:pt idx="2">
                  <c:v>9.3000000000000007</c:v>
                </c:pt>
                <c:pt idx="3">
                  <c:v>6.7</c:v>
                </c:pt>
                <c:pt idx="4">
                  <c:v>8.6</c:v>
                </c:pt>
                <c:pt idx="5">
                  <c:v>9.3000000000000007</c:v>
                </c:pt>
                <c:pt idx="6">
                  <c:v>6.2</c:v>
                </c:pt>
                <c:pt idx="7">
                  <c:v>5</c:v>
                </c:pt>
              </c:numCache>
            </c:numRef>
          </c:val>
        </c:ser>
        <c:marker val="1"/>
        <c:axId val="62206720"/>
        <c:axId val="62196736"/>
      </c:lineChart>
      <c:catAx>
        <c:axId val="62193664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en-US"/>
          </a:p>
        </c:txPr>
        <c:crossAx val="62195200"/>
        <c:crosses val="autoZero"/>
        <c:auto val="1"/>
        <c:lblAlgn val="ctr"/>
        <c:lblOffset val="100"/>
      </c:catAx>
      <c:valAx>
        <c:axId val="62195200"/>
        <c:scaling>
          <c:orientation val="minMax"/>
        </c:scaling>
        <c:axPos val="l"/>
        <c:numFmt formatCode="General" sourceLinked="1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62193664"/>
        <c:crosses val="autoZero"/>
        <c:crossBetween val="between"/>
      </c:valAx>
      <c:valAx>
        <c:axId val="62196736"/>
        <c:scaling>
          <c:orientation val="minMax"/>
        </c:scaling>
        <c:axPos val="r"/>
        <c:numFmt formatCode="General" sourceLinked="1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62206720"/>
        <c:crosses val="max"/>
        <c:crossBetween val="between"/>
      </c:valAx>
      <c:catAx>
        <c:axId val="62206720"/>
        <c:scaling>
          <c:orientation val="minMax"/>
        </c:scaling>
        <c:delete val="1"/>
        <c:axPos val="b"/>
        <c:tickLblPos val="none"/>
        <c:crossAx val="62196736"/>
        <c:crosses val="autoZero"/>
        <c:auto val="1"/>
        <c:lblAlgn val="ctr"/>
        <c:lblOffset val="100"/>
      </c:catAx>
    </c:plotArea>
    <c:legend>
      <c:legendPos val="r"/>
      <c:layout>
        <c:manualLayout>
          <c:xMode val="edge"/>
          <c:yMode val="edge"/>
          <c:x val="0.12320058997050186"/>
          <c:y val="0.12938680741830347"/>
          <c:w val="0.75880530973451465"/>
          <c:h val="0.14701555598233204"/>
        </c:manualLayout>
      </c:layout>
      <c:txPr>
        <a:bodyPr/>
        <a:lstStyle/>
        <a:p>
          <a:pPr>
            <a:defRPr sz="1600" b="1"/>
          </a:pPr>
          <a:endParaRPr lang="en-US"/>
        </a:p>
      </c:txPr>
    </c:legend>
    <c:plotVisOnly val="1"/>
    <c:dispBlanksAs val="gap"/>
  </c:chart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6"/>
  <c:chart>
    <c:autoTitleDeleted val="1"/>
    <c:plotArea>
      <c:layout>
        <c:manualLayout>
          <c:layoutTarget val="inner"/>
          <c:xMode val="edge"/>
          <c:yMode val="edge"/>
          <c:x val="4.0740740740740772E-2"/>
          <c:y val="0.16"/>
          <c:w val="0.88677259092613359"/>
          <c:h val="0.67298897637795274"/>
        </c:manualLayout>
      </c:layout>
      <c:barChart>
        <c:barDir val="col"/>
        <c:grouping val="clustered"/>
        <c:ser>
          <c:idx val="0"/>
          <c:order val="0"/>
          <c:spPr>
            <a:solidFill>
              <a:srgbClr val="00B050"/>
            </a:solidFill>
          </c:spPr>
          <c:dLbls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Val val="1"/>
          </c:dLbls>
          <c:cat>
            <c:strRef>
              <c:f>Sheet2!$B$8:$D$8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Sheet2!$B$9:$D$9</c:f>
              <c:numCache>
                <c:formatCode>0</c:formatCode>
                <c:ptCount val="3"/>
                <c:pt idx="0">
                  <c:v>2090</c:v>
                </c:pt>
                <c:pt idx="1">
                  <c:v>2556.9</c:v>
                </c:pt>
                <c:pt idx="2">
                  <c:v>3147.3</c:v>
                </c:pt>
              </c:numCache>
            </c:numRef>
          </c:val>
        </c:ser>
        <c:dLbls>
          <c:showVal val="1"/>
        </c:dLbls>
        <c:overlap val="-25"/>
        <c:axId val="63673856"/>
        <c:axId val="63675392"/>
      </c:barChart>
      <c:catAx>
        <c:axId val="63673856"/>
        <c:scaling>
          <c:orientation val="minMax"/>
        </c:scaling>
        <c:axPos val="b"/>
        <c:maj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63675392"/>
        <c:crosses val="autoZero"/>
        <c:auto val="1"/>
        <c:lblAlgn val="ctr"/>
        <c:lblOffset val="100"/>
      </c:catAx>
      <c:valAx>
        <c:axId val="63675392"/>
        <c:scaling>
          <c:orientation val="minMax"/>
        </c:scaling>
        <c:delete val="1"/>
        <c:axPos val="l"/>
        <c:numFmt formatCode="0" sourceLinked="1"/>
        <c:tickLblPos val="none"/>
        <c:crossAx val="63673856"/>
        <c:crosses val="autoZero"/>
        <c:crossBetween val="between"/>
      </c:valAx>
    </c:plotArea>
    <c:plotVisOnly val="1"/>
  </c:chart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>
        <c:manualLayout>
          <c:layoutTarget val="inner"/>
          <c:xMode val="edge"/>
          <c:yMode val="edge"/>
          <c:x val="4.0000000000000022E-2"/>
          <c:y val="0.15294831415303936"/>
          <c:w val="0.90410341207351674"/>
          <c:h val="0.79091096305269537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Q-1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127000"/>
            </a:sp3d>
          </c:spPr>
          <c:dLbls>
            <c:dLbl>
              <c:idx val="0"/>
              <c:layout>
                <c:manualLayout>
                  <c:x val="-7.8688524590163934E-3"/>
                  <c:y val="1.8314153038562566E-3"/>
                </c:manualLayout>
              </c:layout>
              <c:showVal val="1"/>
            </c:dLbl>
            <c:dLbl>
              <c:idx val="1"/>
              <c:layout>
                <c:manualLayout>
                  <c:x val="-2.7322404371584678E-3"/>
                  <c:y val="-3.8461538461538472E-3"/>
                </c:manualLayout>
              </c:layout>
              <c:showVal val="1"/>
            </c:dLbl>
            <c:txPr>
              <a:bodyPr/>
              <a:lstStyle/>
              <a:p>
                <a:pPr>
                  <a:defRPr lang="en-US" sz="16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3</c:f>
              <c:strCache>
                <c:ptCount val="2"/>
                <c:pt idx="0">
                  <c:v>2011-12</c:v>
                </c:pt>
                <c:pt idx="1">
                  <c:v>2012-13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0713</c:v>
                </c:pt>
                <c:pt idx="1">
                  <c:v>10193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Q-2</c:v>
                </c:pt>
              </c:strCache>
            </c:strRef>
          </c:tx>
          <c:spPr>
            <a:solidFill>
              <a:srgbClr val="FF9900"/>
            </a:solidFill>
            <a:scene3d>
              <a:camera prst="orthographicFront"/>
              <a:lightRig rig="threePt" dir="t"/>
            </a:scene3d>
            <a:sp3d>
              <a:bevelT w="127000"/>
            </a:sp3d>
          </c:spPr>
          <c:dLbls>
            <c:dLbl>
              <c:idx val="0"/>
              <c:layout>
                <c:manualLayout>
                  <c:x val="-6.6666666666666714E-3"/>
                  <c:y val="1.8314153038562566E-3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-1.6849788007268385E-2"/>
                </c:manualLayout>
              </c:layout>
              <c:showVal val="1"/>
            </c:dLbl>
            <c:txPr>
              <a:bodyPr/>
              <a:lstStyle/>
              <a:p>
                <a:pPr>
                  <a:defRPr lang="en-US" sz="16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3</c:f>
              <c:strCache>
                <c:ptCount val="2"/>
                <c:pt idx="0">
                  <c:v>2011-12</c:v>
                </c:pt>
                <c:pt idx="1">
                  <c:v>2012-13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86102</c:v>
                </c:pt>
                <c:pt idx="1">
                  <c:v>9468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Q-3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127000"/>
            </a:sp3d>
          </c:spPr>
          <c:dLbls>
            <c:dLbl>
              <c:idx val="0"/>
              <c:layout>
                <c:manualLayout>
                  <c:x val="-2.1530054644808744E-2"/>
                  <c:y val="9.3406016555623288E-3"/>
                </c:manualLayout>
              </c:layout>
              <c:showVal val="1"/>
            </c:dLbl>
            <c:dLbl>
              <c:idx val="1"/>
              <c:layout>
                <c:manualLayout>
                  <c:x val="-2.0000000000000011E-2"/>
                  <c:y val="7.1427417726630518E-3"/>
                </c:manualLayout>
              </c:layout>
              <c:showVal val="1"/>
            </c:dLbl>
            <c:txPr>
              <a:bodyPr/>
              <a:lstStyle/>
              <a:p>
                <a:pPr>
                  <a:defRPr lang="en-US" sz="16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3</c:f>
              <c:strCache>
                <c:ptCount val="2"/>
                <c:pt idx="0">
                  <c:v>2011-12</c:v>
                </c:pt>
                <c:pt idx="1">
                  <c:v>2012-13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96006</c:v>
                </c:pt>
                <c:pt idx="1">
                  <c:v>107686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Q-4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scene3d>
              <a:camera prst="orthographicFront"/>
              <a:lightRig rig="threePt" dir="t"/>
            </a:scene3d>
            <a:sp3d>
              <a:bevelT w="127000"/>
            </a:sp3d>
          </c:spPr>
          <c:dLbls>
            <c:dLbl>
              <c:idx val="0"/>
              <c:showVal val="1"/>
            </c:dLbl>
            <c:dLbl>
              <c:idx val="1"/>
              <c:showVal val="1"/>
            </c:dLbl>
            <c:delete val="1"/>
          </c:dLbls>
          <c:cat>
            <c:strRef>
              <c:f>Sheet1!$A$2:$A$3</c:f>
              <c:strCache>
                <c:ptCount val="2"/>
                <c:pt idx="0">
                  <c:v>2011-12</c:v>
                </c:pt>
                <c:pt idx="1">
                  <c:v>2012-13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101105</c:v>
                </c:pt>
                <c:pt idx="1">
                  <c:v>110607</c:v>
                </c:pt>
              </c:numCache>
            </c:numRef>
          </c:val>
        </c:ser>
        <c:gapWidth val="66"/>
        <c:overlap val="100"/>
        <c:axId val="82699008"/>
        <c:axId val="82700544"/>
      </c:barChart>
      <c:catAx>
        <c:axId val="82699008"/>
        <c:scaling>
          <c:orientation val="minMax"/>
        </c:scaling>
        <c:axPos val="b"/>
        <c:tickLblPos val="nextTo"/>
        <c:txPr>
          <a:bodyPr/>
          <a:lstStyle/>
          <a:p>
            <a:pPr>
              <a:defRPr lang="en-US" sz="1800" b="1"/>
            </a:pPr>
            <a:endParaRPr lang="en-US"/>
          </a:p>
        </c:txPr>
        <c:crossAx val="82700544"/>
        <c:crosses val="autoZero"/>
        <c:auto val="1"/>
        <c:lblAlgn val="ctr"/>
        <c:lblOffset val="100"/>
      </c:catAx>
      <c:valAx>
        <c:axId val="82700544"/>
        <c:scaling>
          <c:orientation val="minMax"/>
          <c:max val="420000"/>
        </c:scaling>
        <c:delete val="1"/>
        <c:axPos val="l"/>
        <c:numFmt formatCode="General" sourceLinked="1"/>
        <c:tickLblPos val="none"/>
        <c:crossAx val="82699008"/>
        <c:crosses val="autoZero"/>
        <c:crossBetween val="between"/>
      </c:valAx>
      <c:spPr>
        <a:scene3d>
          <a:camera prst="orthographicFront"/>
          <a:lightRig rig="threePt" dir="t"/>
        </a:scene3d>
        <a:sp3d>
          <a:bevelT w="12700"/>
        </a:sp3d>
      </c:spPr>
    </c:plotArea>
    <c:plotVisOnly val="1"/>
  </c:chart>
  <c:spPr>
    <a:noFill/>
  </c:spPr>
  <c:txPr>
    <a:bodyPr/>
    <a:lstStyle/>
    <a:p>
      <a:pPr>
        <a:defRPr sz="1500"/>
      </a:pPr>
      <a:endParaRPr lang="en-US"/>
    </a:p>
  </c:txPr>
  <c:externalData r:id="rId1"/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>
        <c:manualLayout>
          <c:layoutTarget val="inner"/>
          <c:xMode val="edge"/>
          <c:yMode val="edge"/>
          <c:x val="9.1775153105861748E-2"/>
          <c:y val="0.12981602582800977"/>
          <c:w val="0.80538243657042874"/>
          <c:h val="0.73535701359055616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PAT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73025">
              <a:noFill/>
            </a:ln>
            <a:scene3d>
              <a:camera prst="orthographicFront"/>
              <a:lightRig rig="threePt" dir="t"/>
            </a:scene3d>
            <a:sp3d>
              <a:bevelT prst="relaxedInset"/>
            </a:sp3d>
          </c:spPr>
          <c:dPt>
            <c:idx val="0"/>
            <c:spPr>
              <a:solidFill>
                <a:srgbClr val="FFFF00"/>
              </a:solidFill>
              <a:ln w="73025">
                <a:noFill/>
              </a:ln>
              <a:scene3d>
                <a:camera prst="orthographicFront"/>
                <a:lightRig rig="threePt" dir="t"/>
              </a:scene3d>
              <a:sp3d>
                <a:bevelT prst="relaxedInset"/>
              </a:sp3d>
            </c:spPr>
          </c:dPt>
          <c:dPt>
            <c:idx val="1"/>
            <c:spPr>
              <a:solidFill>
                <a:srgbClr val="92D050"/>
              </a:solidFill>
              <a:ln w="73025">
                <a:noFill/>
              </a:ln>
              <a:scene3d>
                <a:camera prst="orthographicFront"/>
                <a:lightRig rig="threePt" dir="t"/>
              </a:scene3d>
              <a:sp3d>
                <a:bevelT prst="relaxedInset"/>
              </a:sp3d>
            </c:spPr>
          </c:dPt>
          <c:dLbls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5005</a:t>
                    </a:r>
                    <a:endParaRPr lang="en-US"/>
                  </a:p>
                </c:rich>
              </c:tx>
              <c:dLblPos val="outEnd"/>
              <c:showVal val="1"/>
            </c:dLbl>
            <c:spPr>
              <a:noFill/>
            </c:spPr>
            <c:txPr>
              <a:bodyPr/>
              <a:lstStyle/>
              <a:p>
                <a:pPr>
                  <a:defRPr sz="2000" b="1">
                    <a:latin typeface="Calibri" pitchFamily="34" charset="0"/>
                    <a:cs typeface="Calibri" pitchFamily="34" charset="0"/>
                  </a:defRPr>
                </a:pPr>
                <a:endParaRPr lang="en-US"/>
              </a:p>
            </c:txPr>
            <c:dLblPos val="outEnd"/>
            <c:showVal val="1"/>
          </c:dLbls>
          <c:cat>
            <c:strRef>
              <c:f>Sheet1!$A$2:$A$4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 formatCode="General">
                  <c:v>7445</c:v>
                </c:pt>
                <c:pt idx="1">
                  <c:v>3955</c:v>
                </c:pt>
                <c:pt idx="2" formatCode="General">
                  <c:v>5005</c:v>
                </c:pt>
              </c:numCache>
            </c:numRef>
          </c:val>
        </c:ser>
        <c:dLbls>
          <c:showVal val="1"/>
        </c:dLbls>
        <c:axId val="82899328"/>
        <c:axId val="82900864"/>
      </c:barChart>
      <c:catAx>
        <c:axId val="82899328"/>
        <c:scaling>
          <c:orientation val="minMax"/>
        </c:scaling>
        <c:axPos val="b"/>
        <c:tickLblPos val="nextTo"/>
        <c:txPr>
          <a:bodyPr/>
          <a:lstStyle/>
          <a:p>
            <a:pPr>
              <a:defRPr sz="1800" b="1">
                <a:latin typeface="Calibri" pitchFamily="34" charset="0"/>
                <a:cs typeface="Calibri" pitchFamily="34" charset="0"/>
              </a:defRPr>
            </a:pPr>
            <a:endParaRPr lang="en-US"/>
          </a:p>
        </c:txPr>
        <c:crossAx val="82900864"/>
        <c:crosses val="autoZero"/>
        <c:auto val="1"/>
        <c:lblAlgn val="ctr"/>
        <c:lblOffset val="100"/>
      </c:catAx>
      <c:valAx>
        <c:axId val="82900864"/>
        <c:scaling>
          <c:orientation val="minMax"/>
          <c:max val="10000"/>
          <c:min val="0"/>
        </c:scaling>
        <c:delete val="1"/>
        <c:axPos val="l"/>
        <c:numFmt formatCode="General" sourceLinked="1"/>
        <c:tickLblPos val="none"/>
        <c:crossAx val="82899328"/>
        <c:crosses val="autoZero"/>
        <c:crossBetween val="between"/>
        <c:majorUnit val="1000"/>
      </c:valAx>
      <c:spPr>
        <a:gradFill>
          <a:gsLst>
            <a:gs pos="0">
              <a:schemeClr val="accent1">
                <a:shade val="30000"/>
                <a:satMod val="115000"/>
                <a:alpha val="27000"/>
                <a:lumMod val="43000"/>
                <a:lumOff val="57000"/>
              </a:schemeClr>
            </a:gs>
            <a:gs pos="64000">
              <a:schemeClr val="accent1">
                <a:shade val="67500"/>
                <a:satMod val="115000"/>
              </a:schemeClr>
            </a:gs>
            <a:gs pos="100000">
              <a:schemeClr val="accent1">
                <a:shade val="100000"/>
                <a:satMod val="115000"/>
              </a:schemeClr>
            </a:gs>
          </a:gsLst>
          <a:lin ang="5400000" scaled="0"/>
        </a:gradFill>
        <a:scene3d>
          <a:camera prst="orthographicFront"/>
          <a:lightRig rig="threePt" dir="t"/>
        </a:scene3d>
        <a:sp3d>
          <a:bevelT w="190500" h="38100"/>
        </a:sp3d>
      </c:spPr>
    </c:plotArea>
    <c:plotVisOnly val="1"/>
    <c:dispBlanksAs val="zero"/>
  </c:chart>
  <c:txPr>
    <a:bodyPr/>
    <a:lstStyle/>
    <a:p>
      <a:pPr>
        <a:defRPr sz="1800"/>
      </a:pPr>
      <a:endParaRPr lang="en-US"/>
    </a:p>
  </c:txPr>
  <c:externalData r:id="rId1"/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>
        <c:manualLayout>
          <c:layoutTarget val="inner"/>
          <c:xMode val="edge"/>
          <c:yMode val="edge"/>
          <c:x val="0.11477167677049226"/>
          <c:y val="2.0716661601452663E-2"/>
          <c:w val="0.7921080993194437"/>
          <c:h val="0.78886672759275356"/>
        </c:manualLayout>
      </c:layout>
      <c:lineChart>
        <c:grouping val="stacked"/>
        <c:ser>
          <c:idx val="1"/>
          <c:order val="1"/>
          <c:tx>
            <c:strRef>
              <c:f>Sheet1!$C$1</c:f>
              <c:strCache>
                <c:ptCount val="1"/>
                <c:pt idx="0">
                  <c:v>Interest Cost</c:v>
                </c:pt>
              </c:strCache>
            </c:strRef>
          </c:tx>
          <c:spPr>
            <a:ln w="73025">
              <a:solidFill>
                <a:srgbClr val="FF0000"/>
              </a:solidFill>
            </a:ln>
          </c:spPr>
          <c:marker>
            <c:symbol val="none"/>
          </c:marker>
          <c:dLbls>
            <c:numFmt formatCode="#,##0" sourceLinked="0"/>
            <c:txPr>
              <a:bodyPr/>
              <a:lstStyle/>
              <a:p>
                <a:pPr>
                  <a:defRPr sz="1400" b="1">
                    <a:latin typeface="Calibri" pitchFamily="34" charset="0"/>
                    <a:cs typeface="Calibri" pitchFamily="34" charset="0"/>
                  </a:defRPr>
                </a:pPr>
                <a:endParaRPr lang="en-US"/>
              </a:p>
            </c:txPr>
            <c:dLblPos val="t"/>
            <c:showVal val="1"/>
          </c:dLbls>
          <c:cat>
            <c:strRef>
              <c:f>Sheet1!$A$2:$A$4</c:f>
              <c:strCache>
                <c:ptCount val="3"/>
                <c:pt idx="0">
                  <c:v>31.3.2011</c:v>
                </c:pt>
                <c:pt idx="1">
                  <c:v>31.3.2012</c:v>
                </c:pt>
                <c:pt idx="2">
                  <c:v>31.3.2013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2669.8300000000022</c:v>
                </c:pt>
                <c:pt idx="1">
                  <c:v>5591</c:v>
                </c:pt>
                <c:pt idx="2" formatCode="General">
                  <c:v>640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orrowings</c:v>
                </c:pt>
              </c:strCache>
            </c:strRef>
          </c:tx>
          <c:spPr>
            <a:ln w="73025">
              <a:solidFill>
                <a:srgbClr val="002060"/>
              </a:solidFill>
            </a:ln>
          </c:spPr>
          <c:marker>
            <c:symbol val="none"/>
          </c:marker>
          <c:dLbls>
            <c:dLbl>
              <c:idx val="2"/>
              <c:layout>
                <c:manualLayout>
                  <c:x val="-9.8667041619798015E-2"/>
                  <c:y val="-9.5165187684873205E-3"/>
                </c:manualLayout>
              </c:layout>
              <c:dLblPos val="r"/>
              <c:showVal val="1"/>
            </c:dLbl>
            <c:numFmt formatCode="#,##0" sourceLinked="0"/>
            <c:txPr>
              <a:bodyPr/>
              <a:lstStyle/>
              <a:p>
                <a:pPr>
                  <a:defRPr sz="1400" b="1">
                    <a:latin typeface="Calibri" pitchFamily="34" charset="0"/>
                    <a:cs typeface="Calibri" pitchFamily="34" charset="0"/>
                  </a:defRPr>
                </a:pPr>
                <a:endParaRPr lang="en-US"/>
              </a:p>
            </c:txPr>
            <c:dLblPos val="t"/>
            <c:showVal val="1"/>
          </c:dLbls>
          <c:cat>
            <c:strRef>
              <c:f>Sheet1!$A$2:$A$4</c:f>
              <c:strCache>
                <c:ptCount val="3"/>
                <c:pt idx="0">
                  <c:v>31.3.2011</c:v>
                </c:pt>
                <c:pt idx="1">
                  <c:v>31.3.2012</c:v>
                </c:pt>
                <c:pt idx="2">
                  <c:v>31.3.2013</c:v>
                </c:pt>
              </c:strCache>
            </c:strRef>
          </c:cat>
          <c:val>
            <c:numRef>
              <c:f>Sheet1!$D$2:$D$4</c:f>
              <c:numCache>
                <c:formatCode>0</c:formatCode>
                <c:ptCount val="3"/>
                <c:pt idx="0" formatCode="General">
                  <c:v>52734</c:v>
                </c:pt>
                <c:pt idx="1">
                  <c:v>75447</c:v>
                </c:pt>
                <c:pt idx="2" formatCode="General">
                  <c:v>80894</c:v>
                </c:pt>
              </c:numCache>
            </c:numRef>
          </c:val>
        </c:ser>
        <c:dLbls>
          <c:showVal val="1"/>
        </c:dLbls>
        <c:marker val="1"/>
        <c:axId val="83093760"/>
        <c:axId val="83165184"/>
      </c:lineChart>
      <c:lineChart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Debt Equity Ratio</c:v>
                </c:pt>
              </c:strCache>
            </c:strRef>
          </c:tx>
          <c:spPr>
            <a:ln w="73025">
              <a:solidFill>
                <a:srgbClr val="FB9705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8900346601166315E-2"/>
                  <c:y val="-4.0660710680395715E-2"/>
                </c:manualLayout>
              </c:layout>
              <c:dLblPos val="r"/>
              <c:showVal val="1"/>
            </c:dLbl>
            <c:dLbl>
              <c:idx val="2"/>
              <c:layout>
                <c:manualLayout>
                  <c:x val="-3.9336167049915251E-2"/>
                  <c:y val="-4.454237010867599E-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1400" b="1">
                    <a:latin typeface="Calibri" pitchFamily="34" charset="0"/>
                    <a:cs typeface="Calibri" pitchFamily="34" charset="0"/>
                  </a:defRPr>
                </a:pPr>
                <a:endParaRPr lang="en-US"/>
              </a:p>
            </c:txPr>
            <c:dLblPos val="t"/>
            <c:showVal val="1"/>
          </c:dLbls>
          <c:cat>
            <c:strRef>
              <c:f>Sheet1!$A$2:$A$4</c:f>
              <c:strCache>
                <c:ptCount val="3"/>
                <c:pt idx="0">
                  <c:v>31.3.2011</c:v>
                </c:pt>
                <c:pt idx="1">
                  <c:v>31.3.2012</c:v>
                </c:pt>
                <c:pt idx="2">
                  <c:v>31.3.201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95000000000000051</c:v>
                </c:pt>
                <c:pt idx="1">
                  <c:v>1.27</c:v>
                </c:pt>
                <c:pt idx="2">
                  <c:v>1.32</c:v>
                </c:pt>
              </c:numCache>
            </c:numRef>
          </c:val>
        </c:ser>
        <c:dLbls>
          <c:showVal val="1"/>
        </c:dLbls>
        <c:marker val="1"/>
        <c:axId val="83168640"/>
        <c:axId val="83166720"/>
      </c:lineChart>
      <c:catAx>
        <c:axId val="83093760"/>
        <c:scaling>
          <c:orientation val="minMax"/>
        </c:scaling>
        <c:axPos val="b"/>
        <c:tickLblPos val="nextTo"/>
        <c:txPr>
          <a:bodyPr/>
          <a:lstStyle/>
          <a:p>
            <a:pPr>
              <a:defRPr sz="1400" b="1">
                <a:latin typeface="Calibri" pitchFamily="34" charset="0"/>
                <a:cs typeface="Calibri" pitchFamily="34" charset="0"/>
              </a:defRPr>
            </a:pPr>
            <a:endParaRPr lang="en-US"/>
          </a:p>
        </c:txPr>
        <c:crossAx val="83165184"/>
        <c:crosses val="autoZero"/>
        <c:auto val="1"/>
        <c:lblAlgn val="ctr"/>
        <c:lblOffset val="100"/>
      </c:catAx>
      <c:valAx>
        <c:axId val="83165184"/>
        <c:scaling>
          <c:orientation val="minMax"/>
          <c:max val="90000"/>
          <c:min val="0"/>
        </c:scaling>
        <c:axPos val="l"/>
        <c:numFmt formatCode="0" sourceLinked="1"/>
        <c:tickLblPos val="nextTo"/>
        <c:txPr>
          <a:bodyPr/>
          <a:lstStyle/>
          <a:p>
            <a:pPr>
              <a:defRPr sz="1400" b="1">
                <a:latin typeface="Calibri" pitchFamily="34" charset="0"/>
                <a:cs typeface="Calibri" pitchFamily="34" charset="0"/>
              </a:defRPr>
            </a:pPr>
            <a:endParaRPr lang="en-US"/>
          </a:p>
        </c:txPr>
        <c:crossAx val="83093760"/>
        <c:crosses val="autoZero"/>
        <c:crossBetween val="between"/>
        <c:majorUnit val="10000"/>
      </c:valAx>
      <c:valAx>
        <c:axId val="83166720"/>
        <c:scaling>
          <c:orientation val="minMax"/>
          <c:max val="2"/>
          <c:min val="0.4"/>
        </c:scaling>
        <c:axPos val="r"/>
        <c:title>
          <c:tx>
            <c:rich>
              <a:bodyPr rot="-5400000" vert="horz"/>
              <a:lstStyle/>
              <a:p>
                <a:pPr>
                  <a:defRPr sz="1600"/>
                </a:pPr>
                <a:r>
                  <a:rPr lang="en-US" sz="1600" dirty="0" smtClean="0"/>
                  <a:t>D/E Ratio</a:t>
                </a:r>
                <a:endParaRPr lang="en-US" sz="1600" dirty="0"/>
              </a:p>
            </c:rich>
          </c:tx>
          <c:layout>
            <c:manualLayout>
              <c:xMode val="edge"/>
              <c:yMode val="edge"/>
              <c:x val="0.96044608486439198"/>
              <c:y val="0.36858499556348451"/>
            </c:manualLayout>
          </c:layout>
        </c:title>
        <c:numFmt formatCode="General" sourceLinked="1"/>
        <c:tickLblPos val="nextTo"/>
        <c:txPr>
          <a:bodyPr/>
          <a:lstStyle/>
          <a:p>
            <a:pPr>
              <a:defRPr sz="1400" b="1">
                <a:latin typeface="Calibri" pitchFamily="34" charset="0"/>
                <a:cs typeface="Calibri" pitchFamily="34" charset="0"/>
              </a:defRPr>
            </a:pPr>
            <a:endParaRPr lang="en-US"/>
          </a:p>
        </c:txPr>
        <c:crossAx val="83168640"/>
        <c:crosses val="max"/>
        <c:crossBetween val="between"/>
      </c:valAx>
      <c:catAx>
        <c:axId val="83168640"/>
        <c:scaling>
          <c:orientation val="minMax"/>
        </c:scaling>
        <c:delete val="1"/>
        <c:axPos val="b"/>
        <c:tickLblPos val="none"/>
        <c:crossAx val="83166720"/>
        <c:crosses val="autoZero"/>
        <c:auto val="1"/>
        <c:lblAlgn val="ctr"/>
        <c:lblOffset val="100"/>
      </c:catAx>
      <c:spPr>
        <a:gradFill>
          <a:gsLst>
            <a:gs pos="15000">
              <a:srgbClr val="0F6FC6">
                <a:shade val="30000"/>
                <a:satMod val="115000"/>
                <a:lumMod val="43000"/>
                <a:lumOff val="57000"/>
                <a:alpha val="3000"/>
              </a:srgbClr>
            </a:gs>
            <a:gs pos="97000">
              <a:srgbClr val="0F6FC6">
                <a:shade val="67500"/>
                <a:satMod val="115000"/>
              </a:srgbClr>
            </a:gs>
            <a:gs pos="100000">
              <a:srgbClr val="0F6FC6">
                <a:shade val="100000"/>
                <a:satMod val="115000"/>
              </a:srgbClr>
            </a:gs>
          </a:gsLst>
          <a:lin ang="5400000" scaled="0"/>
        </a:gradFill>
        <a:scene3d>
          <a:camera prst="orthographicFront"/>
          <a:lightRig rig="threePt" dir="t"/>
        </a:scene3d>
        <a:sp3d>
          <a:bevelT w="190500" h="38100"/>
        </a:sp3d>
      </c:spPr>
    </c:plotArea>
    <c:legend>
      <c:legendPos val="b"/>
      <c:layout>
        <c:manualLayout>
          <c:xMode val="edge"/>
          <c:yMode val="edge"/>
          <c:x val="0.36069054421294688"/>
          <c:y val="0.91503878139436789"/>
          <c:w val="0.61588969685092565"/>
          <c:h val="6.2487441155912822E-2"/>
        </c:manualLayout>
      </c:layout>
      <c:txPr>
        <a:bodyPr/>
        <a:lstStyle/>
        <a:p>
          <a:pPr>
            <a:defRPr sz="1600" b="1">
              <a:latin typeface="Calibri" pitchFamily="34" charset="0"/>
              <a:cs typeface="Calibri" pitchFamily="34" charset="0"/>
            </a:defRPr>
          </a:pPr>
          <a:endParaRPr lang="en-US"/>
        </a:p>
      </c:txPr>
    </c:legend>
    <c:plotVisOnly val="1"/>
    <c:dispBlanksAs val="zero"/>
  </c:chart>
  <c:txPr>
    <a:bodyPr/>
    <a:lstStyle/>
    <a:p>
      <a:pPr>
        <a:defRPr sz="1800"/>
      </a:pPr>
      <a:endParaRPr lang="en-US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>
        <c:manualLayout>
          <c:layoutTarget val="inner"/>
          <c:xMode val="edge"/>
          <c:yMode val="edge"/>
          <c:x val="1.8018018018018021E-2"/>
          <c:y val="0.20042716535433094"/>
          <c:w val="0.97332458442694658"/>
          <c:h val="0.62379494750656395"/>
        </c:manualLayout>
      </c:layout>
      <c:barChart>
        <c:barDir val="col"/>
        <c:grouping val="clustered"/>
        <c:ser>
          <c:idx val="0"/>
          <c:order val="0"/>
          <c:tx>
            <c:strRef>
              <c:f>Sheet3!$A$4</c:f>
              <c:strCache>
                <c:ptCount val="1"/>
                <c:pt idx="0">
                  <c:v>Crude Imports (MMT)</c:v>
                </c:pt>
              </c:strCache>
            </c:strRef>
          </c:tx>
          <c:spPr>
            <a:ln w="63500">
              <a:noFill/>
            </a:ln>
            <a:scene3d>
              <a:camera prst="orthographicFront"/>
              <a:lightRig rig="threePt" dir="t"/>
            </a:scene3d>
            <a:sp3d>
              <a:bevelT w="127000"/>
            </a:sp3d>
          </c:spPr>
          <c:dLbls>
            <c:txPr>
              <a:bodyPr/>
              <a:lstStyle/>
              <a:p>
                <a:pPr>
                  <a:defRPr sz="1600" b="1"/>
                </a:pPr>
                <a:endParaRPr lang="en-US"/>
              </a:p>
            </c:txPr>
            <c:showVal val="1"/>
          </c:dLbls>
          <c:cat>
            <c:strRef>
              <c:f>Sheet3!$B$3:$I$3</c:f>
              <c:strCache>
                <c:ptCount val="8"/>
                <c:pt idx="0">
                  <c:v>2005-06</c:v>
                </c:pt>
                <c:pt idx="1">
                  <c:v>2006-07</c:v>
                </c:pt>
                <c:pt idx="2">
                  <c:v>2007-08</c:v>
                </c:pt>
                <c:pt idx="3">
                  <c:v>2008-09</c:v>
                </c:pt>
                <c:pt idx="4">
                  <c:v>2009-10</c:v>
                </c:pt>
                <c:pt idx="5">
                  <c:v>2010-11</c:v>
                </c:pt>
                <c:pt idx="6">
                  <c:v>2011-12</c:v>
                </c:pt>
                <c:pt idx="7">
                  <c:v>2012-13</c:v>
                </c:pt>
              </c:strCache>
            </c:strRef>
          </c:cat>
          <c:val>
            <c:numRef>
              <c:f>Sheet3!$B$4:$I$4</c:f>
              <c:numCache>
                <c:formatCode>0.0</c:formatCode>
                <c:ptCount val="8"/>
                <c:pt idx="0">
                  <c:v>99.409000000000006</c:v>
                </c:pt>
                <c:pt idx="1">
                  <c:v>111.502</c:v>
                </c:pt>
                <c:pt idx="2">
                  <c:v>121.67199999999998</c:v>
                </c:pt>
                <c:pt idx="3">
                  <c:v>132.77499999999998</c:v>
                </c:pt>
                <c:pt idx="4">
                  <c:v>159.25900000000001</c:v>
                </c:pt>
                <c:pt idx="5">
                  <c:v>163.595</c:v>
                </c:pt>
                <c:pt idx="6">
                  <c:v>171.72899999999998</c:v>
                </c:pt>
                <c:pt idx="7">
                  <c:v>184.5</c:v>
                </c:pt>
              </c:numCache>
            </c:numRef>
          </c:val>
        </c:ser>
        <c:ser>
          <c:idx val="1"/>
          <c:order val="1"/>
          <c:tx>
            <c:strRef>
              <c:f>Sheet3!$A$5</c:f>
              <c:strCache>
                <c:ptCount val="1"/>
                <c:pt idx="0">
                  <c:v>Domestic Production (MMT) </c:v>
                </c:pt>
              </c:strCache>
            </c:strRef>
          </c:tx>
          <c:spPr>
            <a:solidFill>
              <a:srgbClr val="FFC000"/>
            </a:solidFill>
            <a:ln w="63500">
              <a:noFill/>
            </a:ln>
            <a:scene3d>
              <a:camera prst="orthographicFront"/>
              <a:lightRig rig="threePt" dir="t"/>
            </a:scene3d>
            <a:sp3d>
              <a:bevelT w="127000"/>
            </a:sp3d>
          </c:spPr>
          <c:dLbls>
            <c:dLbl>
              <c:idx val="0"/>
              <c:layout>
                <c:manualLayout>
                  <c:x val="9.0090090090090436E-3"/>
                  <c:y val="0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1.0510510510510523E-2"/>
                  <c:y val="4.1666666666666683E-3"/>
                </c:manualLayout>
              </c:layout>
              <c:dLblPos val="outEnd"/>
              <c:showVal val="1"/>
            </c:dLbl>
            <c:dLbl>
              <c:idx val="2"/>
              <c:layout>
                <c:manualLayout>
                  <c:x val="1.0510510510510523E-2"/>
                  <c:y val="4.1666666666665885E-3"/>
                </c:manualLayout>
              </c:layout>
              <c:dLblPos val="outEnd"/>
              <c:showVal val="1"/>
            </c:dLbl>
            <c:dLbl>
              <c:idx val="3"/>
              <c:layout>
                <c:manualLayout>
                  <c:x val="1.0510510510510461E-2"/>
                  <c:y val="-7.6388006448120983E-17"/>
                </c:manualLayout>
              </c:layout>
              <c:dLblPos val="outEnd"/>
              <c:showVal val="1"/>
            </c:dLbl>
            <c:dLbl>
              <c:idx val="4"/>
              <c:layout>
                <c:manualLayout>
                  <c:x val="3.0030030030030051E-3"/>
                  <c:y val="4.1666666666667395E-3"/>
                </c:manualLayout>
              </c:layout>
              <c:dLblPos val="outEnd"/>
              <c:showVal val="1"/>
            </c:dLbl>
            <c:dLbl>
              <c:idx val="5"/>
              <c:layout>
                <c:manualLayout>
                  <c:x val="1.2012012012012015E-2"/>
                  <c:y val="-4.1666666666665885E-3"/>
                </c:manualLayout>
              </c:layout>
              <c:dLblPos val="outEnd"/>
              <c:showVal val="1"/>
            </c:dLbl>
            <c:dLbl>
              <c:idx val="6"/>
              <c:layout>
                <c:manualLayout>
                  <c:x val="1.2012012012011896E-2"/>
                  <c:y val="-4.1666666666666683E-3"/>
                </c:manualLayout>
              </c:layout>
              <c:dLblPos val="outEnd"/>
              <c:showVal val="1"/>
            </c:dLbl>
            <c:dLbl>
              <c:idx val="7"/>
              <c:layout>
                <c:manualLayout>
                  <c:x val="1.3513513513513521E-2"/>
                  <c:y val="-4.1666666666667395E-3"/>
                </c:manualLayout>
              </c:layout>
              <c:dLblPos val="outEnd"/>
              <c:showVal val="1"/>
            </c:dLbl>
            <c:txPr>
              <a:bodyPr/>
              <a:lstStyle/>
              <a:p>
                <a:pPr>
                  <a:defRPr sz="1600" b="1"/>
                </a:pPr>
                <a:endParaRPr lang="en-US"/>
              </a:p>
            </c:txPr>
            <c:dLblPos val="outEnd"/>
            <c:showVal val="1"/>
          </c:dLbls>
          <c:cat>
            <c:strRef>
              <c:f>Sheet3!$B$3:$I$3</c:f>
              <c:strCache>
                <c:ptCount val="8"/>
                <c:pt idx="0">
                  <c:v>2005-06</c:v>
                </c:pt>
                <c:pt idx="1">
                  <c:v>2006-07</c:v>
                </c:pt>
                <c:pt idx="2">
                  <c:v>2007-08</c:v>
                </c:pt>
                <c:pt idx="3">
                  <c:v>2008-09</c:v>
                </c:pt>
                <c:pt idx="4">
                  <c:v>2009-10</c:v>
                </c:pt>
                <c:pt idx="5">
                  <c:v>2010-11</c:v>
                </c:pt>
                <c:pt idx="6">
                  <c:v>2011-12</c:v>
                </c:pt>
                <c:pt idx="7">
                  <c:v>2012-13</c:v>
                </c:pt>
              </c:strCache>
            </c:strRef>
          </c:cat>
          <c:val>
            <c:numRef>
              <c:f>Sheet3!$B$5:$I$5</c:f>
              <c:numCache>
                <c:formatCode>0.0</c:formatCode>
                <c:ptCount val="8"/>
                <c:pt idx="0">
                  <c:v>32.190000000000012</c:v>
                </c:pt>
                <c:pt idx="1">
                  <c:v>33.988</c:v>
                </c:pt>
                <c:pt idx="2">
                  <c:v>34.118000000000002</c:v>
                </c:pt>
                <c:pt idx="3">
                  <c:v>33.508000000000003</c:v>
                </c:pt>
                <c:pt idx="4">
                  <c:v>33.690000000000012</c:v>
                </c:pt>
                <c:pt idx="5">
                  <c:v>37.684000000000005</c:v>
                </c:pt>
                <c:pt idx="6">
                  <c:v>38.090000000000003</c:v>
                </c:pt>
                <c:pt idx="7">
                  <c:v>37.86</c:v>
                </c:pt>
              </c:numCache>
            </c:numRef>
          </c:val>
        </c:ser>
        <c:axId val="62241024"/>
        <c:axId val="62267392"/>
      </c:barChart>
      <c:catAx>
        <c:axId val="62241024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en-US"/>
          </a:p>
        </c:txPr>
        <c:crossAx val="62267392"/>
        <c:crosses val="autoZero"/>
        <c:auto val="1"/>
        <c:lblAlgn val="ctr"/>
        <c:lblOffset val="100"/>
      </c:catAx>
      <c:valAx>
        <c:axId val="62267392"/>
        <c:scaling>
          <c:orientation val="minMax"/>
          <c:max val="190"/>
          <c:min val="0"/>
        </c:scaling>
        <c:delete val="1"/>
        <c:axPos val="l"/>
        <c:numFmt formatCode="0.0" sourceLinked="1"/>
        <c:tickLblPos val="none"/>
        <c:crossAx val="62241024"/>
        <c:crosses val="autoZero"/>
        <c:crossBetween val="between"/>
        <c:majorUnit val="50"/>
      </c:valAx>
    </c:plotArea>
    <c:legend>
      <c:legendPos val="r"/>
      <c:layout>
        <c:manualLayout>
          <c:xMode val="edge"/>
          <c:yMode val="edge"/>
          <c:x val="1.62386796245064E-2"/>
          <c:y val="3.6482939632545971E-3"/>
          <c:w val="0.97325080986498302"/>
          <c:h val="0.12603641732283474"/>
        </c:manualLayout>
      </c:layout>
      <c:txPr>
        <a:bodyPr/>
        <a:lstStyle/>
        <a:p>
          <a:pPr>
            <a:defRPr sz="1600" b="1"/>
          </a:pPr>
          <a:endParaRPr lang="en-US"/>
        </a:p>
      </c:txPr>
    </c:legend>
    <c:plotVisOnly val="1"/>
    <c:dispBlanksAs val="gap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2000"/>
            </a:pPr>
            <a:r>
              <a:rPr lang="en-US" sz="2000" dirty="0" smtClean="0"/>
              <a:t>Benchmark crude oil</a:t>
            </a:r>
            <a:r>
              <a:rPr lang="en-US" sz="2000" baseline="0" dirty="0" smtClean="0"/>
              <a:t> price movement USD/ bbl</a:t>
            </a:r>
            <a:endParaRPr lang="en-US" sz="2000" dirty="0"/>
          </a:p>
        </c:rich>
      </c:tx>
      <c:layout>
        <c:manualLayout>
          <c:xMode val="edge"/>
          <c:yMode val="edge"/>
          <c:x val="0.2408715004374454"/>
          <c:y val="0"/>
        </c:manualLayout>
      </c:layout>
    </c:title>
    <c:plotArea>
      <c:layout>
        <c:manualLayout>
          <c:layoutTarget val="inner"/>
          <c:xMode val="edge"/>
          <c:yMode val="edge"/>
          <c:x val="7.9121129925649403E-2"/>
          <c:y val="9.3043161271507732E-2"/>
          <c:w val="0.89284082136791754"/>
          <c:h val="0.62788179255371435"/>
        </c:manualLayout>
      </c:layout>
      <c:lineChart>
        <c:grouping val="standard"/>
        <c:ser>
          <c:idx val="0"/>
          <c:order val="0"/>
          <c:tx>
            <c:strRef>
              <c:f>'Annexure-4'!$D$4</c:f>
              <c:strCache>
                <c:ptCount val="1"/>
                <c:pt idx="0">
                  <c:v>Brent(Dated) </c:v>
                </c:pt>
              </c:strCache>
            </c:strRef>
          </c:tx>
          <c:spPr>
            <a:ln w="63500">
              <a:solidFill>
                <a:srgbClr val="7030A0"/>
              </a:solidFill>
              <a:prstDash val="sysDash"/>
            </a:ln>
          </c:spPr>
          <c:marker>
            <c:symbol val="diamond"/>
            <c:size val="8"/>
            <c:spPr>
              <a:solidFill>
                <a:srgbClr val="7030A0"/>
              </a:solidFill>
              <a:ln w="9525">
                <a:noFill/>
              </a:ln>
            </c:spPr>
          </c:marker>
          <c:cat>
            <c:strRef>
              <c:f>'Annexure-4'!$C$6:$C$17</c:f>
              <c:strCache>
                <c:ptCount val="12"/>
                <c:pt idx="0">
                  <c:v>Apr'12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'13</c:v>
                </c:pt>
                <c:pt idx="10">
                  <c:v>Feb</c:v>
                </c:pt>
                <c:pt idx="11">
                  <c:v>Mar'13</c:v>
                </c:pt>
              </c:strCache>
            </c:strRef>
          </c:cat>
          <c:val>
            <c:numRef>
              <c:f>'Annexure-4'!$D$6:$D$17</c:f>
              <c:numCache>
                <c:formatCode>0.00_)</c:formatCode>
                <c:ptCount val="12"/>
                <c:pt idx="0">
                  <c:v>119.54</c:v>
                </c:pt>
                <c:pt idx="1">
                  <c:v>110.2</c:v>
                </c:pt>
                <c:pt idx="2">
                  <c:v>94.84</c:v>
                </c:pt>
                <c:pt idx="3">
                  <c:v>102.59</c:v>
                </c:pt>
                <c:pt idx="4">
                  <c:v>113.36999999999999</c:v>
                </c:pt>
                <c:pt idx="5">
                  <c:v>112.86</c:v>
                </c:pt>
                <c:pt idx="6">
                  <c:v>111.61</c:v>
                </c:pt>
                <c:pt idx="7">
                  <c:v>109.11</c:v>
                </c:pt>
                <c:pt idx="8">
                  <c:v>109.36</c:v>
                </c:pt>
                <c:pt idx="9">
                  <c:v>113.01</c:v>
                </c:pt>
                <c:pt idx="10">
                  <c:v>116.29</c:v>
                </c:pt>
                <c:pt idx="11">
                  <c:v>108.36999999999999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'Annexure-4'!$E$4</c:f>
              <c:strCache>
                <c:ptCount val="1"/>
                <c:pt idx="0">
                  <c:v> NYMEX WTI</c:v>
                </c:pt>
              </c:strCache>
            </c:strRef>
          </c:tx>
          <c:spPr>
            <a:ln w="63500"/>
          </c:spPr>
          <c:marker>
            <c:symbol val="square"/>
            <c:size val="8"/>
          </c:marker>
          <c:dPt>
            <c:idx val="0"/>
            <c:marker>
              <c:spPr>
                <a:ln w="9525"/>
              </c:spPr>
            </c:marker>
          </c:dPt>
          <c:cat>
            <c:strRef>
              <c:f>'Annexure-4'!$C$6:$C$17</c:f>
              <c:strCache>
                <c:ptCount val="12"/>
                <c:pt idx="0">
                  <c:v>Apr'12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'13</c:v>
                </c:pt>
                <c:pt idx="10">
                  <c:v>Feb</c:v>
                </c:pt>
                <c:pt idx="11">
                  <c:v>Mar'13</c:v>
                </c:pt>
              </c:strCache>
            </c:strRef>
          </c:cat>
          <c:val>
            <c:numRef>
              <c:f>'Annexure-4'!$E$6:$E$17</c:f>
              <c:numCache>
                <c:formatCode>0.00_)</c:formatCode>
                <c:ptCount val="12"/>
                <c:pt idx="0">
                  <c:v>103.35</c:v>
                </c:pt>
                <c:pt idx="1">
                  <c:v>94.61999999999999</c:v>
                </c:pt>
                <c:pt idx="2">
                  <c:v>82.32</c:v>
                </c:pt>
                <c:pt idx="3">
                  <c:v>87.8</c:v>
                </c:pt>
                <c:pt idx="4">
                  <c:v>93.990000000000023</c:v>
                </c:pt>
                <c:pt idx="5">
                  <c:v>94.45</c:v>
                </c:pt>
                <c:pt idx="6">
                  <c:v>89.45</c:v>
                </c:pt>
                <c:pt idx="7">
                  <c:v>86.57</c:v>
                </c:pt>
                <c:pt idx="8">
                  <c:v>88.23</c:v>
                </c:pt>
                <c:pt idx="9">
                  <c:v>94.740000000000023</c:v>
                </c:pt>
                <c:pt idx="10">
                  <c:v>95.28</c:v>
                </c:pt>
                <c:pt idx="11">
                  <c:v>92.86999999999999</c:v>
                </c:pt>
              </c:numCache>
            </c:numRef>
          </c:val>
          <c:smooth val="1"/>
        </c:ser>
        <c:ser>
          <c:idx val="2"/>
          <c:order val="2"/>
          <c:tx>
            <c:strRef>
              <c:f>'Annexure-4'!$F$4</c:f>
              <c:strCache>
                <c:ptCount val="1"/>
                <c:pt idx="0">
                  <c:v>Dubai</c:v>
                </c:pt>
              </c:strCache>
            </c:strRef>
          </c:tx>
          <c:spPr>
            <a:ln w="63500">
              <a:solidFill>
                <a:srgbClr val="00B050"/>
              </a:solidFill>
              <a:prstDash val="sysDash"/>
            </a:ln>
          </c:spPr>
          <c:marker>
            <c:symbol val="triangle"/>
            <c:size val="8"/>
            <c:spPr>
              <a:solidFill>
                <a:schemeClr val="accent6">
                  <a:lumMod val="50000"/>
                </a:schemeClr>
              </a:solidFill>
              <a:ln>
                <a:noFill/>
              </a:ln>
            </c:spPr>
          </c:marker>
          <c:cat>
            <c:strRef>
              <c:f>'Annexure-4'!$C$6:$C$17</c:f>
              <c:strCache>
                <c:ptCount val="12"/>
                <c:pt idx="0">
                  <c:v>Apr'12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'13</c:v>
                </c:pt>
                <c:pt idx="10">
                  <c:v>Feb</c:v>
                </c:pt>
                <c:pt idx="11">
                  <c:v>Mar'13</c:v>
                </c:pt>
              </c:strCache>
            </c:strRef>
          </c:cat>
          <c:val>
            <c:numRef>
              <c:f>'Annexure-4'!$F$6:$F$17</c:f>
              <c:numCache>
                <c:formatCode>0.00_)</c:formatCode>
                <c:ptCount val="12"/>
                <c:pt idx="0">
                  <c:v>117.3</c:v>
                </c:pt>
                <c:pt idx="1">
                  <c:v>107.31</c:v>
                </c:pt>
                <c:pt idx="2">
                  <c:v>94.440000000000026</c:v>
                </c:pt>
                <c:pt idx="3">
                  <c:v>99.149999999999991</c:v>
                </c:pt>
                <c:pt idx="4">
                  <c:v>108.59</c:v>
                </c:pt>
                <c:pt idx="5">
                  <c:v>111.22</c:v>
                </c:pt>
                <c:pt idx="6">
                  <c:v>108.86999999999999</c:v>
                </c:pt>
                <c:pt idx="7">
                  <c:v>107.26</c:v>
                </c:pt>
                <c:pt idx="8">
                  <c:v>106.34</c:v>
                </c:pt>
                <c:pt idx="9">
                  <c:v>107.94000000000032</c:v>
                </c:pt>
                <c:pt idx="10">
                  <c:v>111.1</c:v>
                </c:pt>
                <c:pt idx="11">
                  <c:v>105.55</c:v>
                </c:pt>
              </c:numCache>
            </c:numRef>
          </c:val>
          <c:smooth val="1"/>
        </c:ser>
        <c:ser>
          <c:idx val="3"/>
          <c:order val="3"/>
          <c:tx>
            <c:strRef>
              <c:f>'Annexure-4'!$G$4</c:f>
              <c:strCache>
                <c:ptCount val="1"/>
                <c:pt idx="0">
                  <c:v>Indian basket </c:v>
                </c:pt>
              </c:strCache>
            </c:strRef>
          </c:tx>
          <c:spPr>
            <a:ln w="63500">
              <a:solidFill>
                <a:srgbClr val="C00000"/>
              </a:solidFill>
            </a:ln>
          </c:spPr>
          <c:marker>
            <c:symbol val="x"/>
            <c:size val="8"/>
            <c:spPr>
              <a:solidFill>
                <a:srgbClr val="C00000"/>
              </a:solidFill>
              <a:ln w="9525">
                <a:noFill/>
              </a:ln>
            </c:spPr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3.703703703703729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-7.9166666666666913E-2"/>
                  <c:y val="6.1728395061728504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en-US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Annexure-4'!$C$6:$C$17</c:f>
              <c:strCache>
                <c:ptCount val="12"/>
                <c:pt idx="0">
                  <c:v>Apr'12</c:v>
                </c:pt>
                <c:pt idx="1">
                  <c:v>May</c:v>
                </c:pt>
                <c:pt idx="2">
                  <c:v>Jun</c:v>
                </c:pt>
                <c:pt idx="3">
                  <c:v>Jul</c:v>
                </c:pt>
                <c:pt idx="4">
                  <c:v>Aug</c:v>
                </c:pt>
                <c:pt idx="5">
                  <c:v>Sep</c:v>
                </c:pt>
                <c:pt idx="6">
                  <c:v>Oct</c:v>
                </c:pt>
                <c:pt idx="7">
                  <c:v>Nov</c:v>
                </c:pt>
                <c:pt idx="8">
                  <c:v>Dec</c:v>
                </c:pt>
                <c:pt idx="9">
                  <c:v>Jan'13</c:v>
                </c:pt>
                <c:pt idx="10">
                  <c:v>Feb</c:v>
                </c:pt>
                <c:pt idx="11">
                  <c:v>Mar'13</c:v>
                </c:pt>
              </c:strCache>
            </c:strRef>
          </c:cat>
          <c:val>
            <c:numRef>
              <c:f>'Annexure-4'!$G$6:$G$17</c:f>
              <c:numCache>
                <c:formatCode>0.00_)</c:formatCode>
                <c:ptCount val="12"/>
                <c:pt idx="0">
                  <c:v>117.98</c:v>
                </c:pt>
                <c:pt idx="1">
                  <c:v>108.05</c:v>
                </c:pt>
                <c:pt idx="2">
                  <c:v>94.51</c:v>
                </c:pt>
                <c:pt idx="3">
                  <c:v>100.34</c:v>
                </c:pt>
                <c:pt idx="4">
                  <c:v>110.07</c:v>
                </c:pt>
                <c:pt idx="5">
                  <c:v>111.77</c:v>
                </c:pt>
                <c:pt idx="6">
                  <c:v>109.79</c:v>
                </c:pt>
                <c:pt idx="7">
                  <c:v>107.86999999999999</c:v>
                </c:pt>
                <c:pt idx="8">
                  <c:v>107.28</c:v>
                </c:pt>
                <c:pt idx="9">
                  <c:v>109.55</c:v>
                </c:pt>
                <c:pt idx="10">
                  <c:v>112.67999999999998</c:v>
                </c:pt>
                <c:pt idx="11">
                  <c:v>106.45</c:v>
                </c:pt>
              </c:numCache>
            </c:numRef>
          </c:val>
          <c:smooth val="1"/>
        </c:ser>
        <c:marker val="1"/>
        <c:axId val="62477440"/>
        <c:axId val="62478976"/>
      </c:lineChart>
      <c:catAx>
        <c:axId val="62477440"/>
        <c:scaling>
          <c:orientation val="minMax"/>
        </c:scaling>
        <c:axPos val="b"/>
        <c:numFmt formatCode="[$-409]mmm\-yy;@" sourceLinked="0"/>
        <c:tickLblPos val="nextTo"/>
        <c:spPr>
          <a:ln>
            <a:solidFill>
              <a:schemeClr val="tx1"/>
            </a:solidFill>
          </a:ln>
        </c:spPr>
        <c:txPr>
          <a:bodyPr rot="0" vert="horz"/>
          <a:lstStyle/>
          <a:p>
            <a:pPr>
              <a:defRPr sz="20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62478976"/>
        <c:crosses val="autoZero"/>
        <c:auto val="1"/>
        <c:lblAlgn val="ctr"/>
        <c:lblOffset val="100"/>
        <c:tickLblSkip val="1"/>
      </c:catAx>
      <c:valAx>
        <c:axId val="62478976"/>
        <c:scaling>
          <c:orientation val="minMax"/>
          <c:max val="120"/>
          <c:min val="80"/>
        </c:scaling>
        <c:axPos val="l"/>
        <c:numFmt formatCode="#,##0" sourceLinked="0"/>
        <c:tickLblPos val="nextTo"/>
        <c:spPr>
          <a:ln>
            <a:solidFill>
              <a:sysClr val="windowText" lastClr="000000"/>
            </a:solidFill>
          </a:ln>
        </c:spPr>
        <c:txPr>
          <a:bodyPr rot="0" vert="horz"/>
          <a:lstStyle/>
          <a:p>
            <a:pPr>
              <a:defRPr sz="20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62477440"/>
        <c:crosses val="autoZero"/>
        <c:crossBetween val="between"/>
        <c:majorUnit val="10"/>
        <c:minorUnit val="1"/>
      </c:valAx>
    </c:plotArea>
    <c:legend>
      <c:legendPos val="r"/>
      <c:layout>
        <c:manualLayout>
          <c:xMode val="edge"/>
          <c:yMode val="edge"/>
          <c:x val="4.9264654418197884E-2"/>
          <c:y val="0.869903032954217"/>
          <c:w val="0.87418300653594772"/>
          <c:h val="0.10540551181102362"/>
        </c:manualLayout>
      </c:layout>
      <c:txPr>
        <a:bodyPr/>
        <a:lstStyle/>
        <a:p>
          <a:pPr>
            <a:defRPr sz="2000" b="1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</c:chart>
  <c:spPr>
    <a:ln>
      <a:noFill/>
    </a:ln>
  </c:spPr>
  <c:txPr>
    <a:bodyPr/>
    <a:lstStyle/>
    <a:p>
      <a:pPr>
        <a:defRPr sz="1200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plotArea>
      <c:layout>
        <c:manualLayout>
          <c:layoutTarget val="inner"/>
          <c:xMode val="edge"/>
          <c:yMode val="edge"/>
          <c:x val="1.6666666666666701E-2"/>
          <c:y val="0.2"/>
          <c:w val="0.97462872822715363"/>
          <c:h val="0.59971303587051616"/>
        </c:manualLayout>
      </c:layout>
      <c:lineChart>
        <c:grouping val="standard"/>
        <c:ser>
          <c:idx val="0"/>
          <c:order val="0"/>
          <c:tx>
            <c:strRef>
              <c:f>'Historical (year-wise)'!$A$4</c:f>
              <c:strCache>
                <c:ptCount val="1"/>
                <c:pt idx="0">
                  <c:v>HSD</c:v>
                </c:pt>
              </c:strCache>
            </c:strRef>
          </c:tx>
          <c:spPr>
            <a:ln w="63500">
              <a:solidFill>
                <a:srgbClr val="0070C0"/>
              </a:solidFill>
            </a:ln>
          </c:spPr>
          <c:marker>
            <c:symbol val="none"/>
          </c:marker>
          <c:dLbls>
            <c:dLbl>
              <c:idx val="5"/>
              <c:layout>
                <c:manualLayout>
                  <c:x val="-2.9920544022906229E-2"/>
                  <c:y val="6.4153133202099782E-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1600" b="1">
                    <a:solidFill>
                      <a:srgbClr val="0070C0"/>
                    </a:solidFill>
                  </a:defRPr>
                </a:pPr>
                <a:endParaRPr lang="en-US"/>
              </a:p>
            </c:txPr>
            <c:dLblPos val="t"/>
            <c:showVal val="1"/>
          </c:dLbls>
          <c:cat>
            <c:strRef>
              <c:f>'Historical (year-wise)'!$B$3:$I$3</c:f>
              <c:strCache>
                <c:ptCount val="8"/>
                <c:pt idx="0">
                  <c:v>2005-06</c:v>
                </c:pt>
                <c:pt idx="1">
                  <c:v>2006-07</c:v>
                </c:pt>
                <c:pt idx="2">
                  <c:v>2007-08</c:v>
                </c:pt>
                <c:pt idx="3">
                  <c:v>2008-09</c:v>
                </c:pt>
                <c:pt idx="4">
                  <c:v>2009-10</c:v>
                </c:pt>
                <c:pt idx="5">
                  <c:v>2010-11</c:v>
                </c:pt>
                <c:pt idx="6">
                  <c:v>2011-12</c:v>
                </c:pt>
                <c:pt idx="7">
                  <c:v>2012-13</c:v>
                </c:pt>
              </c:strCache>
            </c:strRef>
          </c:cat>
          <c:val>
            <c:numRef>
              <c:f>'Historical (year-wise)'!$B$4:$I$4</c:f>
              <c:numCache>
                <c:formatCode>0.0</c:formatCode>
                <c:ptCount val="8"/>
                <c:pt idx="0">
                  <c:v>1.3636719015997283</c:v>
                </c:pt>
                <c:pt idx="1">
                  <c:v>6.7315742330372315</c:v>
                </c:pt>
                <c:pt idx="2">
                  <c:v>11.124995231905519</c:v>
                </c:pt>
                <c:pt idx="3">
                  <c:v>8.478595481628469</c:v>
                </c:pt>
                <c:pt idx="4">
                  <c:v>8.7642207923646289</c:v>
                </c:pt>
                <c:pt idx="5">
                  <c:v>6.8075604811059875</c:v>
                </c:pt>
                <c:pt idx="6">
                  <c:v>7.7889367765863957</c:v>
                </c:pt>
                <c:pt idx="7">
                  <c:v>6.8168339768339665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'Historical (year-wise)'!$A$5</c:f>
              <c:strCache>
                <c:ptCount val="1"/>
                <c:pt idx="0">
                  <c:v>LPG</c:v>
                </c:pt>
              </c:strCache>
            </c:strRef>
          </c:tx>
          <c:spPr>
            <a:ln w="63500">
              <a:solidFill>
                <a:srgbClr val="C00000"/>
              </a:solidFill>
            </a:ln>
          </c:spPr>
          <c:marker>
            <c:symbol val="none"/>
          </c:marker>
          <c:dLbls>
            <c:dLbl>
              <c:idx val="5"/>
              <c:layout>
                <c:manualLayout>
                  <c:x val="-2.9920544022906229E-2"/>
                  <c:y val="-0.10018208661417315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1600" b="1">
                    <a:solidFill>
                      <a:srgbClr val="C00000"/>
                    </a:solidFill>
                  </a:defRPr>
                </a:pPr>
                <a:endParaRPr lang="en-US"/>
              </a:p>
            </c:txPr>
            <c:dLblPos val="b"/>
            <c:showVal val="1"/>
          </c:dLbls>
          <c:cat>
            <c:strRef>
              <c:f>'Historical (year-wise)'!$B$3:$I$3</c:f>
              <c:strCache>
                <c:ptCount val="8"/>
                <c:pt idx="0">
                  <c:v>2005-06</c:v>
                </c:pt>
                <c:pt idx="1">
                  <c:v>2006-07</c:v>
                </c:pt>
                <c:pt idx="2">
                  <c:v>2007-08</c:v>
                </c:pt>
                <c:pt idx="3">
                  <c:v>2008-09</c:v>
                </c:pt>
                <c:pt idx="4">
                  <c:v>2009-10</c:v>
                </c:pt>
                <c:pt idx="5">
                  <c:v>2010-11</c:v>
                </c:pt>
                <c:pt idx="6">
                  <c:v>2011-12</c:v>
                </c:pt>
                <c:pt idx="7">
                  <c:v>2012-13</c:v>
                </c:pt>
              </c:strCache>
            </c:strRef>
          </c:cat>
          <c:val>
            <c:numRef>
              <c:f>'Historical (year-wise)'!$B$5:$I$5</c:f>
              <c:numCache>
                <c:formatCode>0.0</c:formatCode>
                <c:ptCount val="8"/>
                <c:pt idx="0">
                  <c:v>2.0624694973157567</c:v>
                </c:pt>
                <c:pt idx="1">
                  <c:v>3.7567943345160444</c:v>
                </c:pt>
                <c:pt idx="2">
                  <c:v>10.696518553179402</c:v>
                </c:pt>
                <c:pt idx="3">
                  <c:v>1.5114398814281818</c:v>
                </c:pt>
                <c:pt idx="4">
                  <c:v>7.7456565098046131</c:v>
                </c:pt>
                <c:pt idx="5">
                  <c:v>9.1051661921220521</c:v>
                </c:pt>
                <c:pt idx="6">
                  <c:v>7.1053770043401334</c:v>
                </c:pt>
                <c:pt idx="7">
                  <c:v>1.6469377251672623</c:v>
                </c:pt>
              </c:numCache>
            </c:numRef>
          </c:val>
          <c:smooth val="1"/>
        </c:ser>
        <c:marker val="1"/>
        <c:axId val="62430208"/>
        <c:axId val="62440192"/>
      </c:lineChart>
      <c:catAx>
        <c:axId val="62430208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en-US"/>
          </a:p>
        </c:txPr>
        <c:crossAx val="62440192"/>
        <c:crosses val="autoZero"/>
        <c:auto val="1"/>
        <c:lblAlgn val="ctr"/>
        <c:lblOffset val="100"/>
      </c:catAx>
      <c:valAx>
        <c:axId val="62440192"/>
        <c:scaling>
          <c:orientation val="minMax"/>
        </c:scaling>
        <c:delete val="1"/>
        <c:axPos val="l"/>
        <c:numFmt formatCode="0.0" sourceLinked="1"/>
        <c:tickLblPos val="none"/>
        <c:crossAx val="624302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8842233357193958"/>
          <c:y val="5.8412483595800667E-2"/>
          <c:w val="0.19976509186351704"/>
          <c:h val="0.1674343832021003"/>
        </c:manualLayout>
      </c:layout>
      <c:txPr>
        <a:bodyPr/>
        <a:lstStyle/>
        <a:p>
          <a:pPr>
            <a:defRPr sz="1800" b="1"/>
          </a:pPr>
          <a:endParaRPr lang="en-US"/>
        </a:p>
      </c:txPr>
    </c:legend>
    <c:plotVisOnly val="1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>
        <c:manualLayout>
          <c:layoutTarget val="inner"/>
          <c:xMode val="edge"/>
          <c:yMode val="edge"/>
          <c:x val="5.6963965952854023E-2"/>
          <c:y val="8.6729967577582829E-4"/>
          <c:w val="0.92394718767630679"/>
          <c:h val="0.99913270032422274"/>
        </c:manualLayout>
      </c:layout>
      <c:lineChart>
        <c:grouping val="standard"/>
        <c:ser>
          <c:idx val="0"/>
          <c:order val="0"/>
          <c:tx>
            <c:strRef>
              <c:f>'Historical (year-wise)'!$A$8</c:f>
              <c:strCache>
                <c:ptCount val="1"/>
                <c:pt idx="0">
                  <c:v>ATF</c:v>
                </c:pt>
              </c:strCache>
            </c:strRef>
          </c:tx>
          <c:spPr>
            <a:ln w="63500"/>
          </c:spPr>
          <c:marker>
            <c:symbol val="none"/>
          </c:marker>
          <c:dLbls>
            <c:dLbl>
              <c:idx val="5"/>
              <c:layout>
                <c:manualLayout>
                  <c:x val="-2.9201805381804016E-2"/>
                  <c:y val="8.1908813817627685E-2"/>
                </c:manualLayout>
              </c:layout>
              <c:dLblPos val="r"/>
              <c:showVal val="1"/>
            </c:dLbl>
            <c:dLbl>
              <c:idx val="7"/>
              <c:layout>
                <c:manualLayout>
                  <c:x val="-2.4996233109750049E-2"/>
                  <c:y val="0.104093330245484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1600" b="1">
                    <a:solidFill>
                      <a:srgbClr val="0070C0"/>
                    </a:solidFill>
                  </a:defRPr>
                </a:pPr>
                <a:endParaRPr lang="en-US"/>
              </a:p>
            </c:txPr>
            <c:dLblPos val="t"/>
            <c:showVal val="1"/>
          </c:dLbls>
          <c:cat>
            <c:strRef>
              <c:f>'Historical (year-wise)'!$B$7:$I$7</c:f>
              <c:strCache>
                <c:ptCount val="8"/>
                <c:pt idx="0">
                  <c:v>2005-06</c:v>
                </c:pt>
                <c:pt idx="1">
                  <c:v>2006-07</c:v>
                </c:pt>
                <c:pt idx="2">
                  <c:v>2007-08</c:v>
                </c:pt>
                <c:pt idx="3">
                  <c:v>2008-09</c:v>
                </c:pt>
                <c:pt idx="4">
                  <c:v>2009-10</c:v>
                </c:pt>
                <c:pt idx="5">
                  <c:v>2010-11</c:v>
                </c:pt>
                <c:pt idx="6">
                  <c:v>2011-12</c:v>
                </c:pt>
                <c:pt idx="7">
                  <c:v>2012-13</c:v>
                </c:pt>
              </c:strCache>
            </c:strRef>
          </c:cat>
          <c:val>
            <c:numRef>
              <c:f>'Historical (year-wise)'!$B$8:$I$8</c:f>
              <c:numCache>
                <c:formatCode>0.0</c:formatCode>
                <c:ptCount val="8"/>
                <c:pt idx="0">
                  <c:v>17.275215984641086</c:v>
                </c:pt>
                <c:pt idx="1">
                  <c:v>20.734857212150661</c:v>
                </c:pt>
                <c:pt idx="2">
                  <c:v>14.064507502711812</c:v>
                </c:pt>
                <c:pt idx="3">
                  <c:v>-2.6303130319916659</c:v>
                </c:pt>
                <c:pt idx="4">
                  <c:v>4.6152987569148634</c:v>
                </c:pt>
                <c:pt idx="5">
                  <c:v>9.747610814891388</c:v>
                </c:pt>
                <c:pt idx="6">
                  <c:v>9.0126811594203247</c:v>
                </c:pt>
                <c:pt idx="7">
                  <c:v>-4.7976011994003134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'Historical (year-wise)'!$A$9</c:f>
              <c:strCache>
                <c:ptCount val="1"/>
                <c:pt idx="0">
                  <c:v>MS</c:v>
                </c:pt>
              </c:strCache>
            </c:strRef>
          </c:tx>
          <c:spPr>
            <a:ln w="63500">
              <a:solidFill>
                <a:srgbClr val="FF9900"/>
              </a:solidFill>
            </a:ln>
          </c:spPr>
          <c:marker>
            <c:symbol val="none"/>
          </c:marker>
          <c:dLbls>
            <c:dLbl>
              <c:idx val="2"/>
              <c:layout>
                <c:manualLayout>
                  <c:x val="-3.5517943434640792E-2"/>
                  <c:y val="8.1908813817627685E-2"/>
                </c:manualLayout>
              </c:layout>
              <c:dLblPos val="r"/>
              <c:showVal val="1"/>
            </c:dLbl>
            <c:dLbl>
              <c:idx val="5"/>
              <c:layout>
                <c:manualLayout>
                  <c:x val="-3.7075575833394749E-2"/>
                  <c:y val="-0.12239226145119003"/>
                </c:manualLayout>
              </c:layout>
              <c:dLblPos val="r"/>
              <c:showVal val="1"/>
            </c:dLbl>
            <c:dLbl>
              <c:idx val="6"/>
              <c:layout>
                <c:manualLayout>
                  <c:x val="-3.0759437780557806E-2"/>
                  <c:y val="5.5027093387520112E-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1600" b="1">
                    <a:solidFill>
                      <a:srgbClr val="FF9900"/>
                    </a:solidFill>
                  </a:defRPr>
                </a:pPr>
                <a:endParaRPr lang="en-US"/>
              </a:p>
            </c:txPr>
            <c:dLblPos val="t"/>
            <c:showVal val="1"/>
          </c:dLbls>
          <c:cat>
            <c:strRef>
              <c:f>'Historical (year-wise)'!$B$7:$I$7</c:f>
              <c:strCache>
                <c:ptCount val="8"/>
                <c:pt idx="0">
                  <c:v>2005-06</c:v>
                </c:pt>
                <c:pt idx="1">
                  <c:v>2006-07</c:v>
                </c:pt>
                <c:pt idx="2">
                  <c:v>2007-08</c:v>
                </c:pt>
                <c:pt idx="3">
                  <c:v>2008-09</c:v>
                </c:pt>
                <c:pt idx="4">
                  <c:v>2009-10</c:v>
                </c:pt>
                <c:pt idx="5">
                  <c:v>2010-11</c:v>
                </c:pt>
                <c:pt idx="6">
                  <c:v>2011-12</c:v>
                </c:pt>
                <c:pt idx="7">
                  <c:v>2012-13</c:v>
                </c:pt>
              </c:strCache>
            </c:strRef>
          </c:cat>
          <c:val>
            <c:numRef>
              <c:f>'Historical (year-wise)'!$B$9:$I$9</c:f>
              <c:numCache>
                <c:formatCode>0.0</c:formatCode>
                <c:ptCount val="8"/>
                <c:pt idx="0">
                  <c:v>4.7997091085388881</c:v>
                </c:pt>
                <c:pt idx="1">
                  <c:v>7.3957208118891975</c:v>
                </c:pt>
                <c:pt idx="2">
                  <c:v>11.264168633677508</c:v>
                </c:pt>
                <c:pt idx="3">
                  <c:v>8.9606783971776363</c:v>
                </c:pt>
                <c:pt idx="4">
                  <c:v>13.861652021376855</c:v>
                </c:pt>
                <c:pt idx="5">
                  <c:v>10.735560963701378</c:v>
                </c:pt>
                <c:pt idx="6">
                  <c:v>5.621935411148046</c:v>
                </c:pt>
                <c:pt idx="7">
                  <c:v>4.9958645713828354</c:v>
                </c:pt>
              </c:numCache>
            </c:numRef>
          </c:val>
          <c:smooth val="1"/>
        </c:ser>
        <c:marker val="1"/>
        <c:axId val="62342656"/>
        <c:axId val="62344192"/>
      </c:lineChart>
      <c:catAx>
        <c:axId val="62342656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en-US"/>
          </a:p>
        </c:txPr>
        <c:crossAx val="62344192"/>
        <c:crosses val="autoZero"/>
        <c:auto val="1"/>
        <c:lblAlgn val="ctr"/>
        <c:lblOffset val="100"/>
      </c:catAx>
      <c:valAx>
        <c:axId val="62344192"/>
        <c:scaling>
          <c:orientation val="minMax"/>
          <c:max val="25"/>
        </c:scaling>
        <c:delete val="1"/>
        <c:axPos val="l"/>
        <c:numFmt formatCode="0.0" sourceLinked="1"/>
        <c:tickLblPos val="none"/>
        <c:crossAx val="62342656"/>
        <c:crosses val="autoZero"/>
        <c:crossBetween val="between"/>
        <c:majorUnit val="10"/>
      </c:valAx>
    </c:plotArea>
    <c:legend>
      <c:legendPos val="r"/>
      <c:layout>
        <c:manualLayout>
          <c:xMode val="edge"/>
          <c:yMode val="edge"/>
          <c:x val="0.78545713035870512"/>
          <c:y val="4.9305731944797506E-3"/>
          <c:w val="0.20444710182255302"/>
          <c:h val="0.12454745576157819"/>
        </c:manualLayout>
      </c:layout>
      <c:txPr>
        <a:bodyPr/>
        <a:lstStyle/>
        <a:p>
          <a:pPr>
            <a:defRPr sz="1800" b="1"/>
          </a:pPr>
          <a:endParaRPr lang="en-US"/>
        </a:p>
      </c:txPr>
    </c:legend>
    <c:plotVisOnly val="1"/>
  </c:chart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algn="l">
              <a:defRPr sz="2600"/>
            </a:pPr>
            <a:r>
              <a:rPr lang="en-US" sz="2600" dirty="0" smtClean="0"/>
              <a:t>Domestic POL</a:t>
            </a:r>
            <a:r>
              <a:rPr lang="en-US" sz="2600" baseline="0" dirty="0" smtClean="0"/>
              <a:t> sales (MMT)</a:t>
            </a:r>
            <a:endParaRPr lang="en-US" sz="2600" dirty="0"/>
          </a:p>
        </c:rich>
      </c:tx>
      <c:layout>
        <c:manualLayout>
          <c:xMode val="edge"/>
          <c:yMode val="edge"/>
          <c:x val="1.0595981536790733E-3"/>
          <c:y val="0"/>
        </c:manualLayout>
      </c:layout>
    </c:title>
    <c:view3D>
      <c:rotX val="0"/>
      <c:rotY val="0"/>
      <c:rAngAx val="1"/>
    </c:view3D>
    <c:plotArea>
      <c:layout>
        <c:manualLayout>
          <c:layoutTarget val="inner"/>
          <c:xMode val="edge"/>
          <c:yMode val="edge"/>
          <c:x val="6.1229846269216469E-4"/>
          <c:y val="0.12920815341630806"/>
          <c:w val="0.79045931758530263"/>
          <c:h val="0.75805689611380156"/>
        </c:manualLayout>
      </c:layout>
      <c:bar3DChart>
        <c:barDir val="col"/>
        <c:grouping val="stacked"/>
        <c:ser>
          <c:idx val="0"/>
          <c:order val="0"/>
          <c:tx>
            <c:strRef>
              <c:f>'Rev 1'!$B$6</c:f>
              <c:strCache>
                <c:ptCount val="1"/>
                <c:pt idx="0">
                  <c:v>Others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elete val="1"/>
          </c:dLbls>
          <c:cat>
            <c:strRef>
              <c:f>'Rev 1'!$C$5:$E$5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'Rev 1'!$C$6:$E$6</c:f>
              <c:numCache>
                <c:formatCode>0.0</c:formatCode>
                <c:ptCount val="3"/>
                <c:pt idx="0">
                  <c:v>1.6049886100000066</c:v>
                </c:pt>
                <c:pt idx="1">
                  <c:v>2.3299737100000186</c:v>
                </c:pt>
                <c:pt idx="2">
                  <c:v>2.4140416647373115</c:v>
                </c:pt>
              </c:numCache>
            </c:numRef>
          </c:val>
        </c:ser>
        <c:ser>
          <c:idx val="1"/>
          <c:order val="1"/>
          <c:tx>
            <c:strRef>
              <c:f>'Rev 1'!$B$7</c:f>
              <c:strCache>
                <c:ptCount val="1"/>
                <c:pt idx="0">
                  <c:v>Bitumen 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elete val="1"/>
          </c:dLbls>
          <c:cat>
            <c:strRef>
              <c:f>'Rev 1'!$C$5:$E$5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'Rev 1'!$C$7:$E$7</c:f>
              <c:numCache>
                <c:formatCode>0.0</c:formatCode>
                <c:ptCount val="3"/>
                <c:pt idx="0">
                  <c:v>2.376152999999968</c:v>
                </c:pt>
                <c:pt idx="1">
                  <c:v>2.253809</c:v>
                </c:pt>
                <c:pt idx="2">
                  <c:v>2.2924529999999721</c:v>
                </c:pt>
              </c:numCache>
            </c:numRef>
          </c:val>
        </c:ser>
        <c:ser>
          <c:idx val="2"/>
          <c:order val="2"/>
          <c:tx>
            <c:strRef>
              <c:f>'Rev 1'!$B$8</c:f>
              <c:strCache>
                <c:ptCount val="1"/>
                <c:pt idx="0">
                  <c:v>Lube Greases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elete val="1"/>
          </c:dLbls>
          <c:cat>
            <c:strRef>
              <c:f>'Rev 1'!$C$5:$E$5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'Rev 1'!$C$8:$E$8</c:f>
              <c:numCache>
                <c:formatCode>0.0</c:formatCode>
                <c:ptCount val="3"/>
                <c:pt idx="0">
                  <c:v>0.55026346999999398</c:v>
                </c:pt>
                <c:pt idx="1">
                  <c:v>0.53494182000000579</c:v>
                </c:pt>
                <c:pt idx="2">
                  <c:v>0.50553397078275297</c:v>
                </c:pt>
              </c:numCache>
            </c:numRef>
          </c:val>
        </c:ser>
        <c:ser>
          <c:idx val="3"/>
          <c:order val="3"/>
          <c:tx>
            <c:strRef>
              <c:f>'Rev 1'!$B$9</c:f>
              <c:strCache>
                <c:ptCount val="1"/>
                <c:pt idx="0">
                  <c:v>FO/LSHS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Rev 1'!$C$5:$E$5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'Rev 1'!$C$9:$E$9</c:f>
              <c:numCache>
                <c:formatCode>0.0</c:formatCode>
                <c:ptCount val="3"/>
                <c:pt idx="0">
                  <c:v>5.9748438699999955</c:v>
                </c:pt>
                <c:pt idx="1">
                  <c:v>5.0095437799999987</c:v>
                </c:pt>
                <c:pt idx="2">
                  <c:v>3.8824761066231464</c:v>
                </c:pt>
              </c:numCache>
            </c:numRef>
          </c:val>
        </c:ser>
        <c:ser>
          <c:idx val="4"/>
          <c:order val="4"/>
          <c:tx>
            <c:strRef>
              <c:f>'Rev 1'!$B$10</c:f>
              <c:strCache>
                <c:ptCount val="1"/>
                <c:pt idx="0">
                  <c:v>LDO</c:v>
                </c:pt>
              </c:strCache>
            </c:strRef>
          </c:tx>
          <c:dLbls>
            <c:delete val="1"/>
          </c:dLbls>
          <c:cat>
            <c:strRef>
              <c:f>'Rev 1'!$C$5:$E$5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'Rev 1'!$C$10:$E$10</c:f>
              <c:numCache>
                <c:formatCode>0.0</c:formatCode>
                <c:ptCount val="3"/>
                <c:pt idx="0">
                  <c:v>0.23408440000000041</c:v>
                </c:pt>
                <c:pt idx="1">
                  <c:v>0.18235396000000001</c:v>
                </c:pt>
                <c:pt idx="2">
                  <c:v>0.15437489266211604</c:v>
                </c:pt>
              </c:numCache>
            </c:numRef>
          </c:val>
        </c:ser>
        <c:ser>
          <c:idx val="5"/>
          <c:order val="5"/>
          <c:tx>
            <c:strRef>
              <c:f>'Rev 1'!$B$11</c:f>
              <c:strCache>
                <c:ptCount val="1"/>
                <c:pt idx="0">
                  <c:v>HSD </c:v>
                </c:pt>
              </c:strCache>
            </c:strRef>
          </c:tx>
          <c:spPr>
            <a:solidFill>
              <a:srgbClr val="FFC000"/>
            </a:solidFill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Rev 1'!$C$5:$E$5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'Rev 1'!$C$11:$E$11</c:f>
              <c:numCache>
                <c:formatCode>0.0</c:formatCode>
                <c:ptCount val="3"/>
                <c:pt idx="0">
                  <c:v>31.588363289999748</c:v>
                </c:pt>
                <c:pt idx="1">
                  <c:v>34.091184120000008</c:v>
                </c:pt>
                <c:pt idx="2">
                  <c:v>35.588723579504105</c:v>
                </c:pt>
              </c:numCache>
            </c:numRef>
          </c:val>
        </c:ser>
        <c:ser>
          <c:idx val="6"/>
          <c:order val="6"/>
          <c:tx>
            <c:strRef>
              <c:f>'Rev 1'!$B$12</c:f>
              <c:strCache>
                <c:ptCount val="1"/>
                <c:pt idx="0">
                  <c:v>SKO</c:v>
                </c:pt>
              </c:strCache>
            </c:strRef>
          </c:tx>
          <c:spPr>
            <a:solidFill>
              <a:srgbClr val="00B050"/>
            </a:solidFill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Rev 1'!$C$5:$E$5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'Rev 1'!$C$12:$E$12</c:f>
              <c:numCache>
                <c:formatCode>0.0</c:formatCode>
                <c:ptCount val="3"/>
                <c:pt idx="0">
                  <c:v>5.7738240199999975</c:v>
                </c:pt>
                <c:pt idx="1">
                  <c:v>5.3688831999999955</c:v>
                </c:pt>
                <c:pt idx="2">
                  <c:v>4.9639181194163395</c:v>
                </c:pt>
              </c:numCache>
            </c:numRef>
          </c:val>
        </c:ser>
        <c:ser>
          <c:idx val="7"/>
          <c:order val="7"/>
          <c:tx>
            <c:strRef>
              <c:f>'Rev 1'!$B$13</c:f>
              <c:strCache>
                <c:ptCount val="1"/>
                <c:pt idx="0">
                  <c:v>ATF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elete val="1"/>
          </c:dLbls>
          <c:cat>
            <c:strRef>
              <c:f>'Rev 1'!$C$5:$E$5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'Rev 1'!$C$13:$E$13</c:f>
              <c:numCache>
                <c:formatCode>0.0</c:formatCode>
                <c:ptCount val="3"/>
                <c:pt idx="0">
                  <c:v>3.1340664899999977</c:v>
                </c:pt>
                <c:pt idx="1">
                  <c:v>3.4123769499999987</c:v>
                </c:pt>
                <c:pt idx="2">
                  <c:v>3.3470253870848743</c:v>
                </c:pt>
              </c:numCache>
            </c:numRef>
          </c:val>
        </c:ser>
        <c:ser>
          <c:idx val="8"/>
          <c:order val="8"/>
          <c:tx>
            <c:strRef>
              <c:f>'Rev 1'!$B$14</c:f>
              <c:strCache>
                <c:ptCount val="1"/>
                <c:pt idx="0">
                  <c:v>MS </c:v>
                </c:pt>
              </c:strCache>
            </c:strRef>
          </c:tx>
          <c:spPr>
            <a:solidFill>
              <a:srgbClr val="C00000"/>
            </a:solidFill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Rev 1'!$C$5:$E$5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'Rev 1'!$C$14:$E$14</c:f>
              <c:numCache>
                <c:formatCode>0.0</c:formatCode>
                <c:ptCount val="3"/>
                <c:pt idx="0">
                  <c:v>6.3435543599999331</c:v>
                </c:pt>
                <c:pt idx="1">
                  <c:v>6.6735157299999655</c:v>
                </c:pt>
                <c:pt idx="2">
                  <c:v>6.9435358676469949</c:v>
                </c:pt>
              </c:numCache>
            </c:numRef>
          </c:val>
        </c:ser>
        <c:ser>
          <c:idx val="9"/>
          <c:order val="9"/>
          <c:tx>
            <c:strRef>
              <c:f>'Rev 1'!$B$15</c:f>
              <c:strCache>
                <c:ptCount val="1"/>
                <c:pt idx="0">
                  <c:v>Naphtha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elete val="1"/>
          </c:dLbls>
          <c:cat>
            <c:strRef>
              <c:f>'Rev 1'!$C$5:$E$5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'Rev 1'!$C$15:$E$15</c:f>
              <c:numCache>
                <c:formatCode>0.0</c:formatCode>
                <c:ptCount val="3"/>
                <c:pt idx="0">
                  <c:v>2.5511629999999967</c:v>
                </c:pt>
                <c:pt idx="1">
                  <c:v>3.1803534</c:v>
                </c:pt>
                <c:pt idx="2">
                  <c:v>3.9620310000000001</c:v>
                </c:pt>
              </c:numCache>
            </c:numRef>
          </c:val>
        </c:ser>
        <c:ser>
          <c:idx val="10"/>
          <c:order val="10"/>
          <c:tx>
            <c:strRef>
              <c:f>'Rev 1'!$B$16</c:f>
              <c:strCache>
                <c:ptCount val="1"/>
                <c:pt idx="0">
                  <c:v>LPG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Rev 1'!$C$5:$E$5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'Rev 1'!$C$16:$E$16</c:f>
              <c:numCache>
                <c:formatCode>0.0</c:formatCode>
                <c:ptCount val="3"/>
                <c:pt idx="0">
                  <c:v>6.5938202299999755</c:v>
                </c:pt>
                <c:pt idx="1">
                  <c:v>7.0471240199999645</c:v>
                </c:pt>
                <c:pt idx="2">
                  <c:v>7.1938308869999377</c:v>
                </c:pt>
              </c:numCache>
            </c:numRef>
          </c:val>
        </c:ser>
        <c:dLbls>
          <c:showVal val="1"/>
        </c:dLbls>
        <c:shape val="cylinder"/>
        <c:axId val="62680448"/>
        <c:axId val="62698624"/>
        <c:axId val="0"/>
      </c:bar3DChart>
      <c:catAx>
        <c:axId val="62680448"/>
        <c:scaling>
          <c:orientation val="minMax"/>
        </c:scaling>
        <c:axPos val="b"/>
        <c:numFmt formatCode="General" sourceLinked="0"/>
        <c:tickLblPos val="nextTo"/>
        <c:crossAx val="62698624"/>
        <c:crosses val="autoZero"/>
        <c:auto val="1"/>
        <c:lblAlgn val="ctr"/>
        <c:lblOffset val="100"/>
      </c:catAx>
      <c:valAx>
        <c:axId val="62698624"/>
        <c:scaling>
          <c:orientation val="minMax"/>
        </c:scaling>
        <c:delete val="1"/>
        <c:axPos val="l"/>
        <c:numFmt formatCode="0.0" sourceLinked="1"/>
        <c:tickLblPos val="none"/>
        <c:crossAx val="6268044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013472938727485"/>
          <c:y val="2.3722996163941135E-4"/>
          <c:w val="0.18964363290795549"/>
          <c:h val="0.99930001693336723"/>
        </c:manualLayout>
      </c:layout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</c:chart>
  <c:txPr>
    <a:bodyPr/>
    <a:lstStyle/>
    <a:p>
      <a:pPr>
        <a:defRPr sz="1800" b="1"/>
      </a:pPr>
      <a:endParaRPr lang="en-US"/>
    </a:p>
  </c:txPr>
  <c:externalData r:id="rId2"/>
  <c:userShapes r:id="rId3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view3D>
      <c:rotX val="30"/>
      <c:perspective val="30"/>
    </c:view3D>
    <c:plotArea>
      <c:layout>
        <c:manualLayout>
          <c:layoutTarget val="inner"/>
          <c:xMode val="edge"/>
          <c:yMode val="edge"/>
          <c:x val="5.7323272090988912E-2"/>
          <c:y val="0.16701966279638791"/>
          <c:w val="0.86729800962380521"/>
          <c:h val="0.832980434263904"/>
        </c:manualLayout>
      </c:layout>
      <c:pie3DChart>
        <c:varyColors val="1"/>
        <c:ser>
          <c:idx val="0"/>
          <c:order val="0"/>
          <c:explosion val="25"/>
          <c:dPt>
            <c:idx val="0"/>
            <c:spPr>
              <a:solidFill>
                <a:srgbClr val="7030A0"/>
              </a:solidFill>
            </c:spPr>
          </c:dPt>
          <c:dPt>
            <c:idx val="1"/>
            <c:spPr>
              <a:solidFill>
                <a:srgbClr val="C00000"/>
              </a:solidFill>
            </c:spPr>
          </c:dPt>
          <c:dPt>
            <c:idx val="2"/>
            <c:spPr>
              <a:solidFill>
                <a:srgbClr val="92D050"/>
              </a:solidFill>
            </c:spPr>
          </c:dPt>
          <c:dPt>
            <c:idx val="3"/>
            <c:spPr>
              <a:solidFill>
                <a:srgbClr val="0099FF"/>
              </a:solidFill>
            </c:spPr>
          </c:dPt>
          <c:dPt>
            <c:idx val="4"/>
            <c:spPr>
              <a:solidFill>
                <a:srgbClr val="FFC000"/>
              </a:solidFill>
            </c:spPr>
          </c:dPt>
          <c:dPt>
            <c:idx val="5"/>
            <c:spPr>
              <a:solidFill>
                <a:srgbClr val="FF99CC"/>
              </a:solidFill>
            </c:spPr>
          </c:dPt>
          <c:dPt>
            <c:idx val="6"/>
            <c:spPr>
              <a:solidFill>
                <a:srgbClr val="FFFF00"/>
              </a:solidFill>
            </c:spPr>
          </c:dPt>
          <c:dLbls>
            <c:dLbl>
              <c:idx val="0"/>
              <c:layout>
                <c:manualLayout>
                  <c:x val="-3.8315234033245847E-2"/>
                  <c:y val="-1.863111429253174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Consumer </a:t>
                    </a:r>
                    <a:r>
                      <a:rPr lang="en-US" dirty="0" smtClean="0"/>
                      <a:t>Pumps, 6361 (86.0 %)</a:t>
                    </a:r>
                    <a:endParaRPr lang="en-US" dirty="0"/>
                  </a:p>
                </c:rich>
              </c:tx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7.0920822397200394E-3"/>
                  <c:y val="-6.3297780959198982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AFS, </a:t>
                    </a:r>
                    <a:r>
                      <a:rPr lang="en-US" smtClean="0"/>
                      <a:t>97 (50.3%)</a:t>
                    </a:r>
                    <a:endParaRPr lang="en-US"/>
                  </a:p>
                </c:rich>
              </c:tx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LPG Distributors, </a:t>
                    </a:r>
                    <a:r>
                      <a:rPr lang="en-US" smtClean="0"/>
                      <a:t>6467 (51.3%)</a:t>
                    </a:r>
                    <a:endParaRPr lang="en-US"/>
                  </a:p>
                </c:rich>
              </c:tx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LPG Bottling Plants, </a:t>
                    </a:r>
                    <a:r>
                      <a:rPr lang="en-US" smtClean="0"/>
                      <a:t>90 (48.4%)</a:t>
                    </a:r>
                    <a:endParaRPr lang="en-US"/>
                  </a:p>
                </c:rich>
              </c:tx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Retail Outlets, </a:t>
                    </a:r>
                    <a:r>
                      <a:rPr lang="en-US" smtClean="0"/>
                      <a:t>22372 (45.6%)</a:t>
                    </a:r>
                    <a:endParaRPr lang="en-US"/>
                  </a:p>
                </c:rich>
              </c:tx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6.9519575678040263E-2"/>
                  <c:y val="7.6246719160104875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Terminal/ </a:t>
                    </a:r>
                    <a:r>
                      <a:rPr lang="en-US" dirty="0"/>
                      <a:t>Depots, </a:t>
                    </a:r>
                    <a:r>
                      <a:rPr lang="en-US" dirty="0" smtClean="0"/>
                      <a:t>135 (42.2%)</a:t>
                    </a:r>
                    <a:endParaRPr lang="en-US" dirty="0"/>
                  </a:p>
                </c:rich>
              </c:tx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3.6582294400699912E-2"/>
                  <c:y val="7.5757575757576321E-4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SKO</a:t>
                    </a:r>
                    <a:r>
                      <a:rPr lang="en-US" dirty="0" smtClean="0"/>
                      <a:t>/ LDO </a:t>
                    </a:r>
                    <a:r>
                      <a:rPr lang="en-US" dirty="0"/>
                      <a:t>Dealers, </a:t>
                    </a:r>
                    <a:r>
                      <a:rPr lang="en-US" dirty="0" smtClean="0"/>
                      <a:t>3938 (59.8%)</a:t>
                    </a:r>
                    <a:endParaRPr lang="en-US" dirty="0"/>
                  </a:p>
                </c:rich>
              </c:tx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>
                    <a:solidFill>
                      <a:srgbClr val="002060"/>
                    </a:solidFill>
                  </a:defRPr>
                </a:pPr>
                <a:endParaRPr lang="en-US"/>
              </a:p>
            </c:txPr>
            <c:showVal val="1"/>
            <c:showCatName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3!$C$4:$C$10</c:f>
              <c:strCache>
                <c:ptCount val="7"/>
                <c:pt idx="0">
                  <c:v>Consumer Pump</c:v>
                </c:pt>
                <c:pt idx="1">
                  <c:v>AFS</c:v>
                </c:pt>
                <c:pt idx="2">
                  <c:v>LPG Distributors</c:v>
                </c:pt>
                <c:pt idx="3">
                  <c:v>LPG Bottling Plants</c:v>
                </c:pt>
                <c:pt idx="4">
                  <c:v>Retail Outlets</c:v>
                </c:pt>
                <c:pt idx="5">
                  <c:v>Terminal / Depots</c:v>
                </c:pt>
                <c:pt idx="6">
                  <c:v>SKO/LDO Dealers</c:v>
                </c:pt>
              </c:strCache>
            </c:strRef>
          </c:cat>
          <c:val>
            <c:numRef>
              <c:f>Sheet3!$D$4:$D$10</c:f>
              <c:numCache>
                <c:formatCode>General</c:formatCode>
                <c:ptCount val="7"/>
                <c:pt idx="0">
                  <c:v>6361</c:v>
                </c:pt>
                <c:pt idx="1">
                  <c:v>97</c:v>
                </c:pt>
                <c:pt idx="2">
                  <c:v>6467</c:v>
                </c:pt>
                <c:pt idx="3">
                  <c:v>90</c:v>
                </c:pt>
                <c:pt idx="4">
                  <c:v>22372</c:v>
                </c:pt>
                <c:pt idx="5">
                  <c:v>135</c:v>
                </c:pt>
                <c:pt idx="6">
                  <c:v>3938</c:v>
                </c:pt>
              </c:numCache>
            </c:numRef>
          </c:val>
        </c:ser>
        <c:dLbls>
          <c:showVal val="1"/>
          <c:showCatName val="1"/>
        </c:dLbls>
      </c:pie3DChart>
      <c:spPr>
        <a:noFill/>
        <a:ln w="25400">
          <a:noFill/>
        </a:ln>
      </c:spPr>
    </c:plotArea>
    <c:plotVisOnly val="1"/>
    <c:dispBlanksAs val="zero"/>
  </c:chart>
  <c:externalData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1"/>
    </c:view3D>
    <c:floor>
      <c:spPr>
        <a:scene3d>
          <a:camera prst="orthographicFront"/>
          <a:lightRig rig="threePt" dir="t"/>
        </a:scene3d>
        <a:sp3d>
          <a:contourClr>
            <a:srgbClr val="000000"/>
          </a:contourClr>
        </a:sp3d>
      </c:spPr>
    </c:floor>
    <c:plotArea>
      <c:layout>
        <c:manualLayout>
          <c:layoutTarget val="inner"/>
          <c:xMode val="edge"/>
          <c:yMode val="edge"/>
          <c:x val="7.719816272965883E-4"/>
          <c:y val="0.15283197651141195"/>
          <c:w val="0.82422801837270365"/>
          <c:h val="0.7325810756706258"/>
        </c:manualLayout>
      </c:layout>
      <c:bar3DChart>
        <c:barDir val="col"/>
        <c:grouping val="stacked"/>
        <c:ser>
          <c:idx val="0"/>
          <c:order val="0"/>
          <c:tx>
            <c:strRef>
              <c:f>Sheet1!$C$17</c:f>
              <c:strCache>
                <c:ptCount val="1"/>
                <c:pt idx="0">
                  <c:v>LAB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8:$B$20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Sheet1!$C$18:$C$20</c:f>
              <c:numCache>
                <c:formatCode>0</c:formatCode>
                <c:ptCount val="3"/>
                <c:pt idx="0">
                  <c:v>106.57</c:v>
                </c:pt>
                <c:pt idx="1">
                  <c:v>95.61</c:v>
                </c:pt>
                <c:pt idx="2">
                  <c:v>117.86</c:v>
                </c:pt>
              </c:numCache>
            </c:numRef>
          </c:val>
        </c:ser>
        <c:ser>
          <c:idx val="1"/>
          <c:order val="1"/>
          <c:tx>
            <c:strRef>
              <c:f>Sheet1!$D$17</c:f>
              <c:strCache>
                <c:ptCount val="1"/>
                <c:pt idx="0">
                  <c:v>PX/ PTA</c:v>
                </c:pt>
              </c:strCache>
            </c:strRef>
          </c:tx>
          <c:spPr>
            <a:solidFill>
              <a:srgbClr val="FFFF00"/>
            </a:solidFill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8:$B$20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Sheet1!$D$18:$D$20</c:f>
              <c:numCache>
                <c:formatCode>0</c:formatCode>
                <c:ptCount val="3"/>
                <c:pt idx="0">
                  <c:v>446.85</c:v>
                </c:pt>
                <c:pt idx="1">
                  <c:v>541.79999999999995</c:v>
                </c:pt>
                <c:pt idx="2">
                  <c:v>551.99</c:v>
                </c:pt>
              </c:numCache>
            </c:numRef>
          </c:val>
        </c:ser>
        <c:ser>
          <c:idx val="2"/>
          <c:order val="2"/>
          <c:tx>
            <c:strRef>
              <c:f>Sheet1!$E$17</c:f>
              <c:strCache>
                <c:ptCount val="1"/>
                <c:pt idx="0">
                  <c:v>GLYCOLS</c:v>
                </c:pt>
              </c:strCache>
            </c:strRef>
          </c:tx>
          <c:spPr>
            <a:solidFill>
              <a:srgbClr val="00B050"/>
            </a:solidFill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8:$B$20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Sheet1!$E$18:$E$20</c:f>
              <c:numCache>
                <c:formatCode>0</c:formatCode>
                <c:ptCount val="3"/>
                <c:pt idx="0">
                  <c:v>146.75</c:v>
                </c:pt>
                <c:pt idx="1">
                  <c:v>228.32000000000087</c:v>
                </c:pt>
                <c:pt idx="2">
                  <c:v>312.35000000000002</c:v>
                </c:pt>
              </c:numCache>
            </c:numRef>
          </c:val>
        </c:ser>
        <c:ser>
          <c:idx val="3"/>
          <c:order val="3"/>
          <c:tx>
            <c:strRef>
              <c:f>Sheet1!$F$17</c:f>
              <c:strCache>
                <c:ptCount val="1"/>
                <c:pt idx="0">
                  <c:v>POLYMERS</c:v>
                </c:pt>
              </c:strCache>
            </c:strRef>
          </c:tx>
          <c:spPr>
            <a:solidFill>
              <a:srgbClr val="9954CC"/>
            </a:solidFill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8:$B$20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Sheet1!$F$18:$F$20</c:f>
              <c:numCache>
                <c:formatCode>0</c:formatCode>
                <c:ptCount val="3"/>
                <c:pt idx="0">
                  <c:v>208</c:v>
                </c:pt>
                <c:pt idx="1">
                  <c:v>613.82999999999947</c:v>
                </c:pt>
                <c:pt idx="2">
                  <c:v>842.21</c:v>
                </c:pt>
              </c:numCache>
            </c:numRef>
          </c:val>
        </c:ser>
        <c:dLbls>
          <c:showVal val="1"/>
        </c:dLbls>
        <c:gapWidth val="75"/>
        <c:shape val="cylinder"/>
        <c:axId val="62821888"/>
        <c:axId val="62823424"/>
        <c:axId val="0"/>
      </c:bar3DChart>
      <c:catAx>
        <c:axId val="62821888"/>
        <c:scaling>
          <c:orientation val="minMax"/>
        </c:scaling>
        <c:axPos val="b"/>
        <c:numFmt formatCode="General" sourceLinked="0"/>
        <c:majorTickMark val="none"/>
        <c:tickLblPos val="nextTo"/>
        <c:txPr>
          <a:bodyPr/>
          <a:lstStyle/>
          <a:p>
            <a:pPr>
              <a:defRPr sz="2000" b="1"/>
            </a:pPr>
            <a:endParaRPr lang="en-US"/>
          </a:p>
        </c:txPr>
        <c:crossAx val="62823424"/>
        <c:crosses val="autoZero"/>
        <c:auto val="1"/>
        <c:lblAlgn val="ctr"/>
        <c:lblOffset val="100"/>
      </c:catAx>
      <c:valAx>
        <c:axId val="62823424"/>
        <c:scaling>
          <c:orientation val="minMax"/>
          <c:max val="1900"/>
        </c:scaling>
        <c:delete val="1"/>
        <c:axPos val="l"/>
        <c:numFmt formatCode="0" sourceLinked="1"/>
        <c:tickLblPos val="none"/>
        <c:crossAx val="6282188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0002296587925847"/>
          <c:y val="0.16852662484985967"/>
          <c:w val="0.18192147856518079"/>
          <c:h val="0.64599759775790733"/>
        </c:manualLayout>
      </c:layout>
      <c:overlay val="1"/>
      <c:txPr>
        <a:bodyPr/>
        <a:lstStyle/>
        <a:p>
          <a:pPr>
            <a:defRPr sz="1800" b="1">
              <a:solidFill>
                <a:srgbClr val="002060"/>
              </a:solidFill>
            </a:defRPr>
          </a:pPr>
          <a:endParaRPr lang="en-US"/>
        </a:p>
      </c:txPr>
    </c:legend>
    <c:plotVisOnly val="1"/>
    <c:dispBlanksAs val="gap"/>
  </c:chart>
  <c:externalData r:id="rId2"/>
  <c:userShapes r:id="rId3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6"/>
  <c:chart>
    <c:autoTitleDeleted val="1"/>
    <c:plotArea>
      <c:layout>
        <c:manualLayout>
          <c:layoutTarget val="inner"/>
          <c:xMode val="edge"/>
          <c:yMode val="edge"/>
          <c:x val="3.9215686274509803E-2"/>
          <c:y val="0.17391304347826225"/>
          <c:w val="0.92156862745098034"/>
          <c:h val="0.64455323519342966"/>
        </c:manualLayout>
      </c:layout>
      <c:barChart>
        <c:barDir val="col"/>
        <c:grouping val="clustered"/>
        <c:ser>
          <c:idx val="0"/>
          <c:order val="0"/>
          <c:tx>
            <c:strRef>
              <c:f>Sheet2!$A$4</c:f>
              <c:strCache>
                <c:ptCount val="1"/>
                <c:pt idx="0">
                  <c:v>Turnover</c:v>
                </c:pt>
              </c:strCache>
            </c:strRef>
          </c:tx>
          <c:dLbls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Val val="1"/>
          </c:dLbls>
          <c:cat>
            <c:strRef>
              <c:f>Sheet2!$B$3:$D$3</c:f>
              <c:strCache>
                <c:ptCount val="3"/>
                <c:pt idx="0">
                  <c:v>2010-11</c:v>
                </c:pt>
                <c:pt idx="1">
                  <c:v>2011-12</c:v>
                </c:pt>
                <c:pt idx="2">
                  <c:v>2012-13</c:v>
                </c:pt>
              </c:strCache>
            </c:strRef>
          </c:cat>
          <c:val>
            <c:numRef>
              <c:f>Sheet2!$B$4:$D$4</c:f>
              <c:numCache>
                <c:formatCode>0</c:formatCode>
                <c:ptCount val="3"/>
                <c:pt idx="0">
                  <c:v>841.25961569999947</c:v>
                </c:pt>
                <c:pt idx="1">
                  <c:v>1192.3423129999926</c:v>
                </c:pt>
                <c:pt idx="2">
                  <c:v>1274.0783532999999</c:v>
                </c:pt>
              </c:numCache>
            </c:numRef>
          </c:val>
        </c:ser>
        <c:dLbls>
          <c:showVal val="1"/>
        </c:dLbls>
        <c:overlap val="-25"/>
        <c:axId val="63628032"/>
        <c:axId val="63629568"/>
      </c:barChart>
      <c:catAx>
        <c:axId val="63628032"/>
        <c:scaling>
          <c:orientation val="minMax"/>
        </c:scaling>
        <c:axPos val="b"/>
        <c:maj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63629568"/>
        <c:crosses val="autoZero"/>
        <c:auto val="1"/>
        <c:lblAlgn val="ctr"/>
        <c:lblOffset val="100"/>
      </c:catAx>
      <c:valAx>
        <c:axId val="63629568"/>
        <c:scaling>
          <c:orientation val="minMax"/>
        </c:scaling>
        <c:delete val="1"/>
        <c:axPos val="l"/>
        <c:numFmt formatCode="0" sourceLinked="1"/>
        <c:tickLblPos val="none"/>
        <c:crossAx val="63628032"/>
        <c:crosses val="autoZero"/>
        <c:crossBetween val="between"/>
      </c:valAx>
    </c:plotArea>
    <c:plotVisOnly val="1"/>
  </c:chart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1FD41AC-9F20-4161-A4AD-7474E45EAAF5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D130308-F874-4ECC-8EA2-0AAA95EC4774}">
      <dgm:prSet phldrT="[Text]"/>
      <dgm:spPr>
        <a:solidFill>
          <a:srgbClr val="FB9705">
            <a:alpha val="70000"/>
          </a:srgbClr>
        </a:solidFill>
        <a:scene3d>
          <a:camera prst="orthographicFront"/>
          <a:lightRig rig="threePt" dir="t"/>
        </a:scene3d>
        <a:sp3d>
          <a:bevelT w="190500" h="190500"/>
          <a:bevelB w="0" h="0"/>
        </a:sp3d>
      </dgm:spPr>
      <dgm:t>
        <a:bodyPr/>
        <a:lstStyle/>
        <a:p>
          <a:r>
            <a:rPr lang="en-US" dirty="0" smtClean="0">
              <a:solidFill>
                <a:srgbClr val="002060"/>
              </a:solidFill>
            </a:rPr>
            <a:t>Industry synopsis…</a:t>
          </a:r>
        </a:p>
      </dgm:t>
    </dgm:pt>
    <dgm:pt modelId="{7C42E329-93A7-4522-803F-B685CF18694D}" type="parTrans" cxnId="{63D536B5-9ACA-492B-B4EC-D86E3A0D951B}">
      <dgm:prSet/>
      <dgm:spPr/>
      <dgm:t>
        <a:bodyPr/>
        <a:lstStyle/>
        <a:p>
          <a:endParaRPr lang="en-US"/>
        </a:p>
      </dgm:t>
    </dgm:pt>
    <dgm:pt modelId="{D5DD9386-90B0-437F-A832-257AE61F4F25}" type="sibTrans" cxnId="{63D536B5-9ACA-492B-B4EC-D86E3A0D951B}">
      <dgm:prSet/>
      <dgm:spPr>
        <a:solidFill>
          <a:srgbClr val="002060">
            <a:alpha val="85000"/>
          </a:srgbClr>
        </a:solidFill>
        <a:scene3d>
          <a:camera prst="orthographicFront"/>
          <a:lightRig rig="threePt" dir="t"/>
        </a:scene3d>
        <a:sp3d>
          <a:bevelT w="190500"/>
        </a:sp3d>
      </dgm:spPr>
      <dgm:t>
        <a:bodyPr/>
        <a:lstStyle/>
        <a:p>
          <a:endParaRPr lang="en-US"/>
        </a:p>
      </dgm:t>
    </dgm:pt>
    <dgm:pt modelId="{4CD97918-DBA5-4886-B9B1-AB9BD3B4D5EE}">
      <dgm:prSet phldrT="[Text]"/>
      <dgm:spPr>
        <a:solidFill>
          <a:schemeClr val="accent1">
            <a:hueOff val="0"/>
            <a:satOff val="0"/>
            <a:lumOff val="0"/>
            <a:alpha val="70000"/>
          </a:schemeClr>
        </a:solidFill>
        <a:scene3d>
          <a:camera prst="orthographicFront"/>
          <a:lightRig rig="threePt" dir="t"/>
        </a:scene3d>
        <a:sp3d>
          <a:bevelT w="190500" h="190500"/>
        </a:sp3d>
      </dgm:spPr>
      <dgm:t>
        <a:bodyPr/>
        <a:lstStyle/>
        <a:p>
          <a:r>
            <a:rPr lang="en-US" dirty="0" smtClean="0">
              <a:solidFill>
                <a:srgbClr val="002060"/>
              </a:solidFill>
            </a:rPr>
            <a:t>At the core of IndianOil…</a:t>
          </a:r>
          <a:endParaRPr lang="en-US" dirty="0">
            <a:solidFill>
              <a:srgbClr val="002060"/>
            </a:solidFill>
          </a:endParaRPr>
        </a:p>
      </dgm:t>
    </dgm:pt>
    <dgm:pt modelId="{C147ED26-D949-4FD7-B214-F85027951A6A}" type="parTrans" cxnId="{9FCEF619-31F8-4967-B09C-90D5A9035ACD}">
      <dgm:prSet/>
      <dgm:spPr/>
      <dgm:t>
        <a:bodyPr/>
        <a:lstStyle/>
        <a:p>
          <a:endParaRPr lang="en-US"/>
        </a:p>
      </dgm:t>
    </dgm:pt>
    <dgm:pt modelId="{01563B77-F8CD-485F-AEDF-97182F175056}" type="sibTrans" cxnId="{9FCEF619-31F8-4967-B09C-90D5A9035ACD}">
      <dgm:prSet/>
      <dgm:spPr>
        <a:solidFill>
          <a:srgbClr val="002060">
            <a:alpha val="85000"/>
          </a:srgbClr>
        </a:solidFill>
        <a:scene3d>
          <a:camera prst="orthographicFront"/>
          <a:lightRig rig="threePt" dir="t"/>
        </a:scene3d>
        <a:sp3d>
          <a:bevelT w="190500"/>
        </a:sp3d>
      </dgm:spPr>
      <dgm:t>
        <a:bodyPr/>
        <a:lstStyle/>
        <a:p>
          <a:endParaRPr lang="en-US"/>
        </a:p>
      </dgm:t>
    </dgm:pt>
    <dgm:pt modelId="{EBDA0339-1685-40E8-96AF-9437F320D8A2}">
      <dgm:prSet phldrT="[Text]"/>
      <dgm:spPr>
        <a:solidFill>
          <a:srgbClr val="9954CC">
            <a:alpha val="70000"/>
          </a:srgbClr>
        </a:solidFill>
        <a:scene3d>
          <a:camera prst="orthographicFront"/>
          <a:lightRig rig="threePt" dir="t"/>
        </a:scene3d>
        <a:sp3d>
          <a:bevelT w="190500" h="190500"/>
        </a:sp3d>
      </dgm:spPr>
      <dgm:t>
        <a:bodyPr/>
        <a:lstStyle/>
        <a:p>
          <a:r>
            <a:rPr lang="en-US" dirty="0" smtClean="0">
              <a:solidFill>
                <a:srgbClr val="002060"/>
              </a:solidFill>
            </a:rPr>
            <a:t>The year that was…</a:t>
          </a:r>
          <a:endParaRPr lang="en-US" dirty="0">
            <a:solidFill>
              <a:srgbClr val="002060"/>
            </a:solidFill>
          </a:endParaRPr>
        </a:p>
      </dgm:t>
    </dgm:pt>
    <dgm:pt modelId="{383FC9B5-943F-4A2E-A82C-D4D294822C16}" type="parTrans" cxnId="{18B9272C-CB4C-451F-819E-B914429DE8B4}">
      <dgm:prSet/>
      <dgm:spPr/>
      <dgm:t>
        <a:bodyPr/>
        <a:lstStyle/>
        <a:p>
          <a:endParaRPr lang="en-US"/>
        </a:p>
      </dgm:t>
    </dgm:pt>
    <dgm:pt modelId="{7E9A0B5C-5D00-41F9-B02D-E57DFF227BD6}" type="sibTrans" cxnId="{18B9272C-CB4C-451F-819E-B914429DE8B4}">
      <dgm:prSet/>
      <dgm:spPr>
        <a:solidFill>
          <a:srgbClr val="002060">
            <a:alpha val="85000"/>
          </a:srgbClr>
        </a:solidFill>
        <a:scene3d>
          <a:camera prst="orthographicFront"/>
          <a:lightRig rig="threePt" dir="t"/>
        </a:scene3d>
        <a:sp3d>
          <a:bevelT w="190500"/>
        </a:sp3d>
      </dgm:spPr>
      <dgm:t>
        <a:bodyPr/>
        <a:lstStyle/>
        <a:p>
          <a:endParaRPr lang="en-US"/>
        </a:p>
      </dgm:t>
    </dgm:pt>
    <dgm:pt modelId="{2DA9DD22-76ED-4CA7-B08D-0204F332EDFA}">
      <dgm:prSet/>
      <dgm:spPr>
        <a:solidFill>
          <a:srgbClr val="FFFF00">
            <a:alpha val="69804"/>
          </a:srgbClr>
        </a:solidFill>
        <a:scene3d>
          <a:camera prst="orthographicFront"/>
          <a:lightRig rig="threePt" dir="t"/>
        </a:scene3d>
        <a:sp3d>
          <a:bevelT w="190500" h="190500"/>
        </a:sp3d>
      </dgm:spPr>
      <dgm:t>
        <a:bodyPr/>
        <a:lstStyle/>
        <a:p>
          <a:r>
            <a:rPr lang="en-US" dirty="0" smtClean="0">
              <a:solidFill>
                <a:srgbClr val="002060"/>
              </a:solidFill>
            </a:rPr>
            <a:t>Open forum…</a:t>
          </a:r>
          <a:endParaRPr lang="en-US" dirty="0">
            <a:solidFill>
              <a:srgbClr val="002060"/>
            </a:solidFill>
          </a:endParaRPr>
        </a:p>
      </dgm:t>
    </dgm:pt>
    <dgm:pt modelId="{EE694FB2-D976-4C85-BFAB-ACAB79B7F48B}" type="parTrans" cxnId="{993B8389-961B-4BFD-9D71-C10710BE682F}">
      <dgm:prSet/>
      <dgm:spPr/>
      <dgm:t>
        <a:bodyPr/>
        <a:lstStyle/>
        <a:p>
          <a:endParaRPr lang="en-US"/>
        </a:p>
      </dgm:t>
    </dgm:pt>
    <dgm:pt modelId="{46798E18-4451-4F5B-B00E-FDF328F9F932}" type="sibTrans" cxnId="{993B8389-961B-4BFD-9D71-C10710BE682F}">
      <dgm:prSet/>
      <dgm:spPr/>
      <dgm:t>
        <a:bodyPr/>
        <a:lstStyle/>
        <a:p>
          <a:endParaRPr lang="en-US"/>
        </a:p>
      </dgm:t>
    </dgm:pt>
    <dgm:pt modelId="{8EEC05AC-15C7-46D9-B55A-6E90FFDB80CB}">
      <dgm:prSet/>
      <dgm:spPr>
        <a:solidFill>
          <a:srgbClr val="00B050">
            <a:alpha val="70000"/>
          </a:srgbClr>
        </a:solidFill>
        <a:scene3d>
          <a:camera prst="orthographicFront"/>
          <a:lightRig rig="threePt" dir="t"/>
        </a:scene3d>
        <a:sp3d>
          <a:bevelT w="190500" h="190500"/>
        </a:sp3d>
      </dgm:spPr>
      <dgm:t>
        <a:bodyPr/>
        <a:lstStyle/>
        <a:p>
          <a:r>
            <a:rPr lang="en-US" dirty="0" smtClean="0">
              <a:solidFill>
                <a:srgbClr val="002060"/>
              </a:solidFill>
            </a:rPr>
            <a:t>Performance at a glance…</a:t>
          </a:r>
          <a:endParaRPr lang="en-US" dirty="0">
            <a:solidFill>
              <a:srgbClr val="002060"/>
            </a:solidFill>
          </a:endParaRPr>
        </a:p>
      </dgm:t>
    </dgm:pt>
    <dgm:pt modelId="{4A2A1965-30FB-4A4C-9C96-3497F486B7F1}" type="parTrans" cxnId="{43ABFE1F-84AE-4B03-8782-8D2CF1C34AFB}">
      <dgm:prSet/>
      <dgm:spPr/>
      <dgm:t>
        <a:bodyPr/>
        <a:lstStyle/>
        <a:p>
          <a:endParaRPr lang="en-US"/>
        </a:p>
      </dgm:t>
    </dgm:pt>
    <dgm:pt modelId="{69A274F6-531B-4722-8EAD-3C6B1F149CE2}" type="sibTrans" cxnId="{43ABFE1F-84AE-4B03-8782-8D2CF1C34AFB}">
      <dgm:prSet/>
      <dgm:spPr>
        <a:solidFill>
          <a:srgbClr val="002060">
            <a:alpha val="85000"/>
          </a:srgbClr>
        </a:solidFill>
        <a:scene3d>
          <a:camera prst="orthographicFront"/>
          <a:lightRig rig="threePt" dir="t"/>
        </a:scene3d>
        <a:sp3d>
          <a:bevelT w="190500"/>
        </a:sp3d>
      </dgm:spPr>
      <dgm:t>
        <a:bodyPr/>
        <a:lstStyle/>
        <a:p>
          <a:endParaRPr lang="en-US"/>
        </a:p>
      </dgm:t>
    </dgm:pt>
    <dgm:pt modelId="{9074FEE7-7A37-4D88-A48D-D74755026CE9}" type="pres">
      <dgm:prSet presAssocID="{E1FD41AC-9F20-4161-A4AD-7474E45EAAF5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AF49550-8904-4A3C-8322-1BA11C9B1C8D}" type="pres">
      <dgm:prSet presAssocID="{E1FD41AC-9F20-4161-A4AD-7474E45EAAF5}" presName="dummyMaxCanvas" presStyleCnt="0">
        <dgm:presLayoutVars/>
      </dgm:prSet>
      <dgm:spPr/>
    </dgm:pt>
    <dgm:pt modelId="{047B9F7A-3330-4818-951A-B6CC6DF43421}" type="pres">
      <dgm:prSet presAssocID="{E1FD41AC-9F20-4161-A4AD-7474E45EAAF5}" presName="FiveNodes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D51624-57C3-4300-9FBB-1E16187F56BA}" type="pres">
      <dgm:prSet presAssocID="{E1FD41AC-9F20-4161-A4AD-7474E45EAAF5}" presName="FiveNodes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3CB0078-87CA-4666-941C-E4A05E43D72D}" type="pres">
      <dgm:prSet presAssocID="{E1FD41AC-9F20-4161-A4AD-7474E45EAAF5}" presName="FiveNodes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38A0C0-4B28-4BDE-BF8C-811FA3308DDA}" type="pres">
      <dgm:prSet presAssocID="{E1FD41AC-9F20-4161-A4AD-7474E45EAAF5}" presName="FiveNodes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E574D5F-EFD5-4659-9DE7-57941DD4E67D}" type="pres">
      <dgm:prSet presAssocID="{E1FD41AC-9F20-4161-A4AD-7474E45EAAF5}" presName="FiveNodes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D0F367-51A2-4F6C-8806-FF6B34FC37D1}" type="pres">
      <dgm:prSet presAssocID="{E1FD41AC-9F20-4161-A4AD-7474E45EAAF5}" presName="FiveConn_1-2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D43510-D7C1-4692-B3B7-FEE1AF48465F}" type="pres">
      <dgm:prSet presAssocID="{E1FD41AC-9F20-4161-A4AD-7474E45EAAF5}" presName="FiveConn_2-3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543D97-0CC3-41DD-91FB-F700CC93E83F}" type="pres">
      <dgm:prSet presAssocID="{E1FD41AC-9F20-4161-A4AD-7474E45EAAF5}" presName="FiveConn_3-4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269C61-4D8D-41E1-8CD3-81E421AF9477}" type="pres">
      <dgm:prSet presAssocID="{E1FD41AC-9F20-4161-A4AD-7474E45EAAF5}" presName="FiveConn_4-5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C72407-555B-4D02-89C3-E190C82137A9}" type="pres">
      <dgm:prSet presAssocID="{E1FD41AC-9F20-4161-A4AD-7474E45EAAF5}" presName="FiveNodes_1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66EFD7-DDCF-444F-960F-8786160CE4D0}" type="pres">
      <dgm:prSet presAssocID="{E1FD41AC-9F20-4161-A4AD-7474E45EAAF5}" presName="FiveNodes_2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BC363AF-0EB8-4921-92CC-ED28824C6776}" type="pres">
      <dgm:prSet presAssocID="{E1FD41AC-9F20-4161-A4AD-7474E45EAAF5}" presName="FiveNodes_3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2003BBA-5BD6-42AA-9A10-B483AAAD982D}" type="pres">
      <dgm:prSet presAssocID="{E1FD41AC-9F20-4161-A4AD-7474E45EAAF5}" presName="FiveNodes_4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CD2D35-D9FA-454A-B70E-88DF19D99EE5}" type="pres">
      <dgm:prSet presAssocID="{E1FD41AC-9F20-4161-A4AD-7474E45EAAF5}" presName="FiveNodes_5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A8DF849-1E1C-4173-B0CE-85781ED78FBF}" type="presOf" srcId="{E1FD41AC-9F20-4161-A4AD-7474E45EAAF5}" destId="{9074FEE7-7A37-4D88-A48D-D74755026CE9}" srcOrd="0" destOrd="0" presId="urn:microsoft.com/office/officeart/2005/8/layout/vProcess5"/>
    <dgm:cxn modelId="{C187090B-7066-4526-8591-6CE85B6DFAC0}" type="presOf" srcId="{7E9A0B5C-5D00-41F9-B02D-E57DFF227BD6}" destId="{4D543D97-0CC3-41DD-91FB-F700CC93E83F}" srcOrd="0" destOrd="0" presId="urn:microsoft.com/office/officeart/2005/8/layout/vProcess5"/>
    <dgm:cxn modelId="{9FCEF619-31F8-4967-B09C-90D5A9035ACD}" srcId="{E1FD41AC-9F20-4161-A4AD-7474E45EAAF5}" destId="{4CD97918-DBA5-4886-B9B1-AB9BD3B4D5EE}" srcOrd="1" destOrd="0" parTransId="{C147ED26-D949-4FD7-B214-F85027951A6A}" sibTransId="{01563B77-F8CD-485F-AEDF-97182F175056}"/>
    <dgm:cxn modelId="{6DD9B5D3-F611-430C-8DA6-2641521F5C07}" type="presOf" srcId="{8EEC05AC-15C7-46D9-B55A-6E90FFDB80CB}" destId="{F738A0C0-4B28-4BDE-BF8C-811FA3308DDA}" srcOrd="0" destOrd="0" presId="urn:microsoft.com/office/officeart/2005/8/layout/vProcess5"/>
    <dgm:cxn modelId="{18B9272C-CB4C-451F-819E-B914429DE8B4}" srcId="{E1FD41AC-9F20-4161-A4AD-7474E45EAAF5}" destId="{EBDA0339-1685-40E8-96AF-9437F320D8A2}" srcOrd="2" destOrd="0" parTransId="{383FC9B5-943F-4A2E-A82C-D4D294822C16}" sibTransId="{7E9A0B5C-5D00-41F9-B02D-E57DFF227BD6}"/>
    <dgm:cxn modelId="{7DADBA2E-C7A3-4C58-B7FF-511CB454181A}" type="presOf" srcId="{8EEC05AC-15C7-46D9-B55A-6E90FFDB80CB}" destId="{12003BBA-5BD6-42AA-9A10-B483AAAD982D}" srcOrd="1" destOrd="0" presId="urn:microsoft.com/office/officeart/2005/8/layout/vProcess5"/>
    <dgm:cxn modelId="{60F26A6E-8C5C-44EA-8D65-58243214B64B}" type="presOf" srcId="{D5DD9386-90B0-437F-A832-257AE61F4F25}" destId="{B1D0F367-51A2-4F6C-8806-FF6B34FC37D1}" srcOrd="0" destOrd="0" presId="urn:microsoft.com/office/officeart/2005/8/layout/vProcess5"/>
    <dgm:cxn modelId="{99F421DD-27A1-4102-B793-0354301F953B}" type="presOf" srcId="{01563B77-F8CD-485F-AEDF-97182F175056}" destId="{4CD43510-D7C1-4692-B3B7-FEE1AF48465F}" srcOrd="0" destOrd="0" presId="urn:microsoft.com/office/officeart/2005/8/layout/vProcess5"/>
    <dgm:cxn modelId="{29C9AD9D-AC87-4F8C-B5FE-7D0780BA9981}" type="presOf" srcId="{2DA9DD22-76ED-4CA7-B08D-0204F332EDFA}" destId="{73CD2D35-D9FA-454A-B70E-88DF19D99EE5}" srcOrd="1" destOrd="0" presId="urn:microsoft.com/office/officeart/2005/8/layout/vProcess5"/>
    <dgm:cxn modelId="{2DEF2E18-3BCD-466B-9C6C-C99829251CC0}" type="presOf" srcId="{4CD97918-DBA5-4886-B9B1-AB9BD3B4D5EE}" destId="{02D51624-57C3-4300-9FBB-1E16187F56BA}" srcOrd="0" destOrd="0" presId="urn:microsoft.com/office/officeart/2005/8/layout/vProcess5"/>
    <dgm:cxn modelId="{0635DA6E-4938-4F0E-A496-3BE84F39DE14}" type="presOf" srcId="{EBDA0339-1685-40E8-96AF-9437F320D8A2}" destId="{33CB0078-87CA-4666-941C-E4A05E43D72D}" srcOrd="0" destOrd="0" presId="urn:microsoft.com/office/officeart/2005/8/layout/vProcess5"/>
    <dgm:cxn modelId="{8F40BC9E-712D-4B2E-8227-62D0024B435A}" type="presOf" srcId="{EBDA0339-1685-40E8-96AF-9437F320D8A2}" destId="{EBC363AF-0EB8-4921-92CC-ED28824C6776}" srcOrd="1" destOrd="0" presId="urn:microsoft.com/office/officeart/2005/8/layout/vProcess5"/>
    <dgm:cxn modelId="{D8C65972-5FC5-4640-90C8-19D9118400BE}" type="presOf" srcId="{69A274F6-531B-4722-8EAD-3C6B1F149CE2}" destId="{7C269C61-4D8D-41E1-8CD3-81E421AF9477}" srcOrd="0" destOrd="0" presId="urn:microsoft.com/office/officeart/2005/8/layout/vProcess5"/>
    <dgm:cxn modelId="{63D536B5-9ACA-492B-B4EC-D86E3A0D951B}" srcId="{E1FD41AC-9F20-4161-A4AD-7474E45EAAF5}" destId="{2D130308-F874-4ECC-8EA2-0AAA95EC4774}" srcOrd="0" destOrd="0" parTransId="{7C42E329-93A7-4522-803F-B685CF18694D}" sibTransId="{D5DD9386-90B0-437F-A832-257AE61F4F25}"/>
    <dgm:cxn modelId="{0D8D044D-F3A6-4EA7-959A-79C3E2BFE979}" type="presOf" srcId="{2D130308-F874-4ECC-8EA2-0AAA95EC4774}" destId="{56C72407-555B-4D02-89C3-E190C82137A9}" srcOrd="1" destOrd="0" presId="urn:microsoft.com/office/officeart/2005/8/layout/vProcess5"/>
    <dgm:cxn modelId="{DAD9A415-1626-4402-9261-C3D741A90314}" type="presOf" srcId="{4CD97918-DBA5-4886-B9B1-AB9BD3B4D5EE}" destId="{C966EFD7-DDCF-444F-960F-8786160CE4D0}" srcOrd="1" destOrd="0" presId="urn:microsoft.com/office/officeart/2005/8/layout/vProcess5"/>
    <dgm:cxn modelId="{A46E2660-E670-45B4-BFB6-6CDEFA0967E1}" type="presOf" srcId="{2D130308-F874-4ECC-8EA2-0AAA95EC4774}" destId="{047B9F7A-3330-4818-951A-B6CC6DF43421}" srcOrd="0" destOrd="0" presId="urn:microsoft.com/office/officeart/2005/8/layout/vProcess5"/>
    <dgm:cxn modelId="{993B8389-961B-4BFD-9D71-C10710BE682F}" srcId="{E1FD41AC-9F20-4161-A4AD-7474E45EAAF5}" destId="{2DA9DD22-76ED-4CA7-B08D-0204F332EDFA}" srcOrd="4" destOrd="0" parTransId="{EE694FB2-D976-4C85-BFAB-ACAB79B7F48B}" sibTransId="{46798E18-4451-4F5B-B00E-FDF328F9F932}"/>
    <dgm:cxn modelId="{43ABFE1F-84AE-4B03-8782-8D2CF1C34AFB}" srcId="{E1FD41AC-9F20-4161-A4AD-7474E45EAAF5}" destId="{8EEC05AC-15C7-46D9-B55A-6E90FFDB80CB}" srcOrd="3" destOrd="0" parTransId="{4A2A1965-30FB-4A4C-9C96-3497F486B7F1}" sibTransId="{69A274F6-531B-4722-8EAD-3C6B1F149CE2}"/>
    <dgm:cxn modelId="{6B1FEF88-0791-4F60-BA6A-17398228F305}" type="presOf" srcId="{2DA9DD22-76ED-4CA7-B08D-0204F332EDFA}" destId="{2E574D5F-EFD5-4659-9DE7-57941DD4E67D}" srcOrd="0" destOrd="0" presId="urn:microsoft.com/office/officeart/2005/8/layout/vProcess5"/>
    <dgm:cxn modelId="{4342A2DF-9A9B-4B9E-88FC-2D49806328DE}" type="presParOf" srcId="{9074FEE7-7A37-4D88-A48D-D74755026CE9}" destId="{0AF49550-8904-4A3C-8322-1BA11C9B1C8D}" srcOrd="0" destOrd="0" presId="urn:microsoft.com/office/officeart/2005/8/layout/vProcess5"/>
    <dgm:cxn modelId="{DCC02B4A-8318-4F4F-A80D-47AAD73AAC07}" type="presParOf" srcId="{9074FEE7-7A37-4D88-A48D-D74755026CE9}" destId="{047B9F7A-3330-4818-951A-B6CC6DF43421}" srcOrd="1" destOrd="0" presId="urn:microsoft.com/office/officeart/2005/8/layout/vProcess5"/>
    <dgm:cxn modelId="{FBC31E30-A77A-403A-A602-4B64925A0F5F}" type="presParOf" srcId="{9074FEE7-7A37-4D88-A48D-D74755026CE9}" destId="{02D51624-57C3-4300-9FBB-1E16187F56BA}" srcOrd="2" destOrd="0" presId="urn:microsoft.com/office/officeart/2005/8/layout/vProcess5"/>
    <dgm:cxn modelId="{F92E4877-8E92-4221-AD00-1CA440FDA344}" type="presParOf" srcId="{9074FEE7-7A37-4D88-A48D-D74755026CE9}" destId="{33CB0078-87CA-4666-941C-E4A05E43D72D}" srcOrd="3" destOrd="0" presId="urn:microsoft.com/office/officeart/2005/8/layout/vProcess5"/>
    <dgm:cxn modelId="{DE7F8D14-6776-4C03-86A6-88D94B042669}" type="presParOf" srcId="{9074FEE7-7A37-4D88-A48D-D74755026CE9}" destId="{F738A0C0-4B28-4BDE-BF8C-811FA3308DDA}" srcOrd="4" destOrd="0" presId="urn:microsoft.com/office/officeart/2005/8/layout/vProcess5"/>
    <dgm:cxn modelId="{E2A0A2E7-3223-41E8-9814-7A3BDCEEF71C}" type="presParOf" srcId="{9074FEE7-7A37-4D88-A48D-D74755026CE9}" destId="{2E574D5F-EFD5-4659-9DE7-57941DD4E67D}" srcOrd="5" destOrd="0" presId="urn:microsoft.com/office/officeart/2005/8/layout/vProcess5"/>
    <dgm:cxn modelId="{4115816C-432C-4844-931B-4BAC8CEB79C5}" type="presParOf" srcId="{9074FEE7-7A37-4D88-A48D-D74755026CE9}" destId="{B1D0F367-51A2-4F6C-8806-FF6B34FC37D1}" srcOrd="6" destOrd="0" presId="urn:microsoft.com/office/officeart/2005/8/layout/vProcess5"/>
    <dgm:cxn modelId="{6E6A1F7A-D17C-4699-8241-A819465EFAA4}" type="presParOf" srcId="{9074FEE7-7A37-4D88-A48D-D74755026CE9}" destId="{4CD43510-D7C1-4692-B3B7-FEE1AF48465F}" srcOrd="7" destOrd="0" presId="urn:microsoft.com/office/officeart/2005/8/layout/vProcess5"/>
    <dgm:cxn modelId="{D7A5B65C-9B6B-4763-94C1-34EDE886574D}" type="presParOf" srcId="{9074FEE7-7A37-4D88-A48D-D74755026CE9}" destId="{4D543D97-0CC3-41DD-91FB-F700CC93E83F}" srcOrd="8" destOrd="0" presId="urn:microsoft.com/office/officeart/2005/8/layout/vProcess5"/>
    <dgm:cxn modelId="{993B0555-095E-4D65-AF21-8393706B8094}" type="presParOf" srcId="{9074FEE7-7A37-4D88-A48D-D74755026CE9}" destId="{7C269C61-4D8D-41E1-8CD3-81E421AF9477}" srcOrd="9" destOrd="0" presId="urn:microsoft.com/office/officeart/2005/8/layout/vProcess5"/>
    <dgm:cxn modelId="{050406D3-EB6A-41E2-95A1-E29B435BE4FC}" type="presParOf" srcId="{9074FEE7-7A37-4D88-A48D-D74755026CE9}" destId="{56C72407-555B-4D02-89C3-E190C82137A9}" srcOrd="10" destOrd="0" presId="urn:microsoft.com/office/officeart/2005/8/layout/vProcess5"/>
    <dgm:cxn modelId="{514C9358-AFFE-4836-B3C9-34B9F814F4CB}" type="presParOf" srcId="{9074FEE7-7A37-4D88-A48D-D74755026CE9}" destId="{C966EFD7-DDCF-444F-960F-8786160CE4D0}" srcOrd="11" destOrd="0" presId="urn:microsoft.com/office/officeart/2005/8/layout/vProcess5"/>
    <dgm:cxn modelId="{E4B6AD7C-B3C1-400D-A86D-933D6E70DDBC}" type="presParOf" srcId="{9074FEE7-7A37-4D88-A48D-D74755026CE9}" destId="{EBC363AF-0EB8-4921-92CC-ED28824C6776}" srcOrd="12" destOrd="0" presId="urn:microsoft.com/office/officeart/2005/8/layout/vProcess5"/>
    <dgm:cxn modelId="{F2C84DF6-33C8-48E6-A6FA-63D69CE7CE55}" type="presParOf" srcId="{9074FEE7-7A37-4D88-A48D-D74755026CE9}" destId="{12003BBA-5BD6-42AA-9A10-B483AAAD982D}" srcOrd="13" destOrd="0" presId="urn:microsoft.com/office/officeart/2005/8/layout/vProcess5"/>
    <dgm:cxn modelId="{A39100E3-90DE-423B-A84A-F43173CE01D5}" type="presParOf" srcId="{9074FEE7-7A37-4D88-A48D-D74755026CE9}" destId="{73CD2D35-D9FA-454A-B70E-88DF19D99EE5}" srcOrd="14" destOrd="0" presId="urn:microsoft.com/office/officeart/2005/8/layout/vProcess5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6F10C8-2165-4019-A7B8-A7DBE5E7BB5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DFDD83E-8378-49D0-B2AC-836062564AE5}">
      <dgm:prSet custT="1"/>
      <dgm:spPr>
        <a:solidFill>
          <a:srgbClr val="0070C0"/>
        </a:solidFill>
      </dgm:spPr>
      <dgm:t>
        <a:bodyPr anchor="t" anchorCtr="0"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>
              <a:solidFill>
                <a:srgbClr val="FFFF00"/>
              </a:solidFill>
            </a:rPr>
            <a:t>Nation’s largest refiner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* 65.7 MMTPA capacity 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* 30.5% of domestic refining capacity</a:t>
          </a:r>
        </a:p>
        <a:p>
          <a:pPr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b="1" dirty="0"/>
        </a:p>
      </dgm:t>
    </dgm:pt>
    <dgm:pt modelId="{926058B2-1C03-4657-BB24-FF5AF1221A2D}" type="parTrans" cxnId="{F91AC97B-BC37-42C6-8D1F-53B30B1FCC08}">
      <dgm:prSet/>
      <dgm:spPr/>
      <dgm:t>
        <a:bodyPr/>
        <a:lstStyle/>
        <a:p>
          <a:endParaRPr lang="en-US" sz="2000" b="1"/>
        </a:p>
      </dgm:t>
    </dgm:pt>
    <dgm:pt modelId="{4A0E32F8-0762-4FEE-B723-19F6E52795B2}" type="sibTrans" cxnId="{F91AC97B-BC37-42C6-8D1F-53B30B1FCC08}">
      <dgm:prSet/>
      <dgm:spPr/>
      <dgm:t>
        <a:bodyPr/>
        <a:lstStyle/>
        <a:p>
          <a:endParaRPr lang="en-US" sz="2000" b="1"/>
        </a:p>
      </dgm:t>
    </dgm:pt>
    <dgm:pt modelId="{1E6A474C-8311-4C68-AFEB-AF0C91B86289}">
      <dgm:prSet custT="1"/>
      <dgm:spPr>
        <a:solidFill>
          <a:srgbClr val="0070C0"/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>
              <a:solidFill>
                <a:srgbClr val="FFFF00"/>
              </a:solidFill>
            </a:rPr>
            <a:t>Country-wide network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* Over 11,000 KM crude oil, products &amp; natural gas pipelines </a:t>
          </a:r>
          <a:endParaRPr lang="en-US" sz="2000" b="1" dirty="0"/>
        </a:p>
      </dgm:t>
    </dgm:pt>
    <dgm:pt modelId="{852B3BC3-A15B-4062-9A3B-11868535E34D}" type="parTrans" cxnId="{AD20E0DE-64BE-414A-8AC5-C06EE996A859}">
      <dgm:prSet/>
      <dgm:spPr/>
      <dgm:t>
        <a:bodyPr/>
        <a:lstStyle/>
        <a:p>
          <a:endParaRPr lang="en-US" sz="2000" b="1"/>
        </a:p>
      </dgm:t>
    </dgm:pt>
    <dgm:pt modelId="{6147EE6B-8283-41DD-8203-CD3FDDC9737C}" type="sibTrans" cxnId="{AD20E0DE-64BE-414A-8AC5-C06EE996A859}">
      <dgm:prSet/>
      <dgm:spPr/>
      <dgm:t>
        <a:bodyPr/>
        <a:lstStyle/>
        <a:p>
          <a:endParaRPr lang="en-US" sz="2000" b="1"/>
        </a:p>
      </dgm:t>
    </dgm:pt>
    <dgm:pt modelId="{D7BE376E-B750-44A4-A1AC-A62F414570AC}" type="pres">
      <dgm:prSet presAssocID="{FD6F10C8-2165-4019-A7B8-A7DBE5E7BB5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8520EE0-5387-45F7-B812-72ED6AE08E6D}" type="pres">
      <dgm:prSet presAssocID="{9DFDD83E-8378-49D0-B2AC-836062564AE5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BFEFD7-796C-4011-9F29-BB914643B73B}" type="pres">
      <dgm:prSet presAssocID="{4A0E32F8-0762-4FEE-B723-19F6E52795B2}" presName="spacer" presStyleCnt="0"/>
      <dgm:spPr/>
    </dgm:pt>
    <dgm:pt modelId="{5B73CDDB-9A07-4436-BD2F-E7A4DC56341F}" type="pres">
      <dgm:prSet presAssocID="{1E6A474C-8311-4C68-AFEB-AF0C91B86289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6D47953-3286-4643-9C3A-2225FB6A594D}" type="presOf" srcId="{9DFDD83E-8378-49D0-B2AC-836062564AE5}" destId="{B8520EE0-5387-45F7-B812-72ED6AE08E6D}" srcOrd="0" destOrd="0" presId="urn:microsoft.com/office/officeart/2005/8/layout/vList2"/>
    <dgm:cxn modelId="{F91AC97B-BC37-42C6-8D1F-53B30B1FCC08}" srcId="{FD6F10C8-2165-4019-A7B8-A7DBE5E7BB53}" destId="{9DFDD83E-8378-49D0-B2AC-836062564AE5}" srcOrd="0" destOrd="0" parTransId="{926058B2-1C03-4657-BB24-FF5AF1221A2D}" sibTransId="{4A0E32F8-0762-4FEE-B723-19F6E52795B2}"/>
    <dgm:cxn modelId="{6BBF7EEC-0741-4EC6-9023-3C9F19B2DD7D}" type="presOf" srcId="{FD6F10C8-2165-4019-A7B8-A7DBE5E7BB53}" destId="{D7BE376E-B750-44A4-A1AC-A62F414570AC}" srcOrd="0" destOrd="0" presId="urn:microsoft.com/office/officeart/2005/8/layout/vList2"/>
    <dgm:cxn modelId="{29350DB2-F7DA-407D-8B2E-4D762713125D}" type="presOf" srcId="{1E6A474C-8311-4C68-AFEB-AF0C91B86289}" destId="{5B73CDDB-9A07-4436-BD2F-E7A4DC56341F}" srcOrd="0" destOrd="0" presId="urn:microsoft.com/office/officeart/2005/8/layout/vList2"/>
    <dgm:cxn modelId="{AD20E0DE-64BE-414A-8AC5-C06EE996A859}" srcId="{FD6F10C8-2165-4019-A7B8-A7DBE5E7BB53}" destId="{1E6A474C-8311-4C68-AFEB-AF0C91B86289}" srcOrd="1" destOrd="0" parTransId="{852B3BC3-A15B-4062-9A3B-11868535E34D}" sibTransId="{6147EE6B-8283-41DD-8203-CD3FDDC9737C}"/>
    <dgm:cxn modelId="{2C679DF6-7A8F-446B-9B7C-DC7829D2980D}" type="presParOf" srcId="{D7BE376E-B750-44A4-A1AC-A62F414570AC}" destId="{B8520EE0-5387-45F7-B812-72ED6AE08E6D}" srcOrd="0" destOrd="0" presId="urn:microsoft.com/office/officeart/2005/8/layout/vList2"/>
    <dgm:cxn modelId="{01150FCB-184B-47C5-B168-207A308300DD}" type="presParOf" srcId="{D7BE376E-B750-44A4-A1AC-A62F414570AC}" destId="{BABFEFD7-796C-4011-9F29-BB914643B73B}" srcOrd="1" destOrd="0" presId="urn:microsoft.com/office/officeart/2005/8/layout/vList2"/>
    <dgm:cxn modelId="{994FC36A-6DA1-492A-90CD-2DDA90652825}" type="presParOf" srcId="{D7BE376E-B750-44A4-A1AC-A62F414570AC}" destId="{5B73CDDB-9A07-4436-BD2F-E7A4DC56341F}" srcOrd="2" destOrd="0" presId="urn:microsoft.com/office/officeart/2005/8/layout/vList2"/>
  </dgm:cxnLst>
  <dgm:bg>
    <a:gradFill flip="none" rotWithShape="1">
      <a:gsLst>
        <a:gs pos="1770">
          <a:schemeClr val="accent3">
            <a:lumMod val="40000"/>
            <a:lumOff val="60000"/>
          </a:schemeClr>
        </a:gs>
        <a:gs pos="70000">
          <a:schemeClr val="accent1">
            <a:lumMod val="75000"/>
          </a:schemeClr>
        </a:gs>
        <a:gs pos="34000">
          <a:schemeClr val="accent2">
            <a:lumMod val="75000"/>
          </a:schemeClr>
        </a:gs>
      </a:gsLst>
      <a:path path="circle">
        <a:fillToRect r="100000" b="100000"/>
      </a:path>
      <a:tileRect l="-100000" t="-100000"/>
    </a:gradFill>
  </dgm:bg>
  <dgm:whole/>
  <dgm:extLst>
    <a:ext uri="http://schemas.microsoft.com/office/drawing/2008/diagram">
      <dsp:dataModelExt xmlns=""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D6F10C8-2165-4019-A7B8-A7DBE5E7BB5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2360159-A259-499A-9897-4466DBEF967F}">
      <dgm:prSet phldrT="[Text]" custT="1"/>
      <dgm:spPr>
        <a:solidFill>
          <a:srgbClr val="0070C0"/>
        </a:solidFill>
      </dgm:spPr>
      <dgm:t>
        <a:bodyPr anchor="t"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>
              <a:solidFill>
                <a:srgbClr val="FFFF00"/>
              </a:solidFill>
            </a:rPr>
            <a:t>Domestic market leader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* 48.2 % market share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* Over 39,400 touch-points</a:t>
          </a:r>
          <a:endParaRPr lang="en-US" sz="2000" b="1" dirty="0"/>
        </a:p>
      </dgm:t>
    </dgm:pt>
    <dgm:pt modelId="{624658FD-EDE8-4998-AE54-80708DFD8104}" type="parTrans" cxnId="{F36C209B-DF2C-44EB-A8F2-E9F8A3EF155E}">
      <dgm:prSet/>
      <dgm:spPr/>
      <dgm:t>
        <a:bodyPr/>
        <a:lstStyle/>
        <a:p>
          <a:endParaRPr lang="en-US" sz="2000" b="1"/>
        </a:p>
      </dgm:t>
    </dgm:pt>
    <dgm:pt modelId="{EC7EA276-9B58-4E2E-854E-032E2F350F79}" type="sibTrans" cxnId="{F36C209B-DF2C-44EB-A8F2-E9F8A3EF155E}">
      <dgm:prSet/>
      <dgm:spPr/>
      <dgm:t>
        <a:bodyPr/>
        <a:lstStyle/>
        <a:p>
          <a:endParaRPr lang="en-US" sz="2000" b="1"/>
        </a:p>
      </dgm:t>
    </dgm:pt>
    <dgm:pt modelId="{6C2C3A42-8819-420A-AF0F-342C7421C882}">
      <dgm:prSet custT="1"/>
      <dgm:spPr>
        <a:solidFill>
          <a:srgbClr val="0070C0"/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>
              <a:solidFill>
                <a:srgbClr val="FFFF00"/>
              </a:solidFill>
            </a:rPr>
            <a:t>R&amp;D – among the best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* Pioneer in lube &amp; refining technologies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900" b="1" dirty="0" smtClean="0">
              <a:solidFill>
                <a:schemeClr val="bg1"/>
              </a:solidFill>
            </a:rPr>
            <a:t>* New focus on Alternate and Renewable energy</a:t>
          </a:r>
          <a:endParaRPr lang="en-US" sz="1900" b="1" dirty="0">
            <a:solidFill>
              <a:schemeClr val="bg1"/>
            </a:solidFill>
          </a:endParaRPr>
        </a:p>
      </dgm:t>
    </dgm:pt>
    <dgm:pt modelId="{45BEC758-C36E-434D-BCA0-D470F3717EBC}" type="parTrans" cxnId="{B597BACB-2F23-4318-8EA9-ABEF174BB7CA}">
      <dgm:prSet/>
      <dgm:spPr/>
      <dgm:t>
        <a:bodyPr/>
        <a:lstStyle/>
        <a:p>
          <a:endParaRPr lang="en-US" sz="2000" b="1"/>
        </a:p>
      </dgm:t>
    </dgm:pt>
    <dgm:pt modelId="{ACF3F69D-6BA2-48D3-B56E-B96146D7FE1B}" type="sibTrans" cxnId="{B597BACB-2F23-4318-8EA9-ABEF174BB7CA}">
      <dgm:prSet/>
      <dgm:spPr/>
      <dgm:t>
        <a:bodyPr/>
        <a:lstStyle/>
        <a:p>
          <a:endParaRPr lang="en-US" sz="2000" b="1"/>
        </a:p>
      </dgm:t>
    </dgm:pt>
    <dgm:pt modelId="{D7BE376E-B750-44A4-A1AC-A62F414570AC}" type="pres">
      <dgm:prSet presAssocID="{FD6F10C8-2165-4019-A7B8-A7DBE5E7BB5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873196A-7731-47D5-94FA-CF1E19CF0C57}" type="pres">
      <dgm:prSet presAssocID="{12360159-A259-499A-9897-4466DBEF967F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249F090-ED07-471E-BCCE-394AC5F9FF72}" type="pres">
      <dgm:prSet presAssocID="{EC7EA276-9B58-4E2E-854E-032E2F350F79}" presName="spacer" presStyleCnt="0"/>
      <dgm:spPr/>
    </dgm:pt>
    <dgm:pt modelId="{05A7D7E3-7E21-40A5-98A0-74712A355D9C}" type="pres">
      <dgm:prSet presAssocID="{6C2C3A42-8819-420A-AF0F-342C7421C882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4168655-910C-47B0-B529-6B2036D50375}" type="presOf" srcId="{12360159-A259-499A-9897-4466DBEF967F}" destId="{9873196A-7731-47D5-94FA-CF1E19CF0C57}" srcOrd="0" destOrd="0" presId="urn:microsoft.com/office/officeart/2005/8/layout/vList2"/>
    <dgm:cxn modelId="{F36C209B-DF2C-44EB-A8F2-E9F8A3EF155E}" srcId="{FD6F10C8-2165-4019-A7B8-A7DBE5E7BB53}" destId="{12360159-A259-499A-9897-4466DBEF967F}" srcOrd="0" destOrd="0" parTransId="{624658FD-EDE8-4998-AE54-80708DFD8104}" sibTransId="{EC7EA276-9B58-4E2E-854E-032E2F350F79}"/>
    <dgm:cxn modelId="{36093411-DD3F-441B-BD11-B3555444C88A}" type="presOf" srcId="{6C2C3A42-8819-420A-AF0F-342C7421C882}" destId="{05A7D7E3-7E21-40A5-98A0-74712A355D9C}" srcOrd="0" destOrd="0" presId="urn:microsoft.com/office/officeart/2005/8/layout/vList2"/>
    <dgm:cxn modelId="{B597BACB-2F23-4318-8EA9-ABEF174BB7CA}" srcId="{FD6F10C8-2165-4019-A7B8-A7DBE5E7BB53}" destId="{6C2C3A42-8819-420A-AF0F-342C7421C882}" srcOrd="1" destOrd="0" parTransId="{45BEC758-C36E-434D-BCA0-D470F3717EBC}" sibTransId="{ACF3F69D-6BA2-48D3-B56E-B96146D7FE1B}"/>
    <dgm:cxn modelId="{AA253D59-AF0E-4D72-ABAB-949DC3C3EC7C}" type="presOf" srcId="{FD6F10C8-2165-4019-A7B8-A7DBE5E7BB53}" destId="{D7BE376E-B750-44A4-A1AC-A62F414570AC}" srcOrd="0" destOrd="0" presId="urn:microsoft.com/office/officeart/2005/8/layout/vList2"/>
    <dgm:cxn modelId="{788D590B-91BC-4640-8A05-F2DC67516232}" type="presParOf" srcId="{D7BE376E-B750-44A4-A1AC-A62F414570AC}" destId="{9873196A-7731-47D5-94FA-CF1E19CF0C57}" srcOrd="0" destOrd="0" presId="urn:microsoft.com/office/officeart/2005/8/layout/vList2"/>
    <dgm:cxn modelId="{280F7519-1A59-4F40-8A90-D1A42FD7E141}" type="presParOf" srcId="{D7BE376E-B750-44A4-A1AC-A62F414570AC}" destId="{5249F090-ED07-471E-BCCE-394AC5F9FF72}" srcOrd="1" destOrd="0" presId="urn:microsoft.com/office/officeart/2005/8/layout/vList2"/>
    <dgm:cxn modelId="{D8BB4469-2A90-47CB-83AE-63564637ED5C}" type="presParOf" srcId="{D7BE376E-B750-44A4-A1AC-A62F414570AC}" destId="{05A7D7E3-7E21-40A5-98A0-74712A355D9C}" srcOrd="2" destOrd="0" presId="urn:microsoft.com/office/officeart/2005/8/layout/vList2"/>
  </dgm:cxnLst>
  <dgm:bg>
    <a:gradFill flip="none" rotWithShape="1">
      <a:gsLst>
        <a:gs pos="1770">
          <a:schemeClr val="accent3">
            <a:lumMod val="40000"/>
            <a:lumOff val="60000"/>
          </a:schemeClr>
        </a:gs>
        <a:gs pos="70000">
          <a:schemeClr val="accent1">
            <a:lumMod val="75000"/>
          </a:schemeClr>
        </a:gs>
        <a:gs pos="34000">
          <a:schemeClr val="accent2">
            <a:lumMod val="75000"/>
          </a:schemeClr>
        </a:gs>
      </a:gsLst>
      <a:path path="circle">
        <a:fillToRect r="100000" b="100000"/>
      </a:path>
      <a:tileRect l="-100000" t="-100000"/>
    </a:gradFill>
  </dgm:bg>
  <dgm:whole/>
  <dgm:extLst>
    <a:ext uri="http://schemas.microsoft.com/office/drawing/2008/diagram">
      <dsp:dataModelExt xmlns="" xmlns:dsp="http://schemas.microsoft.com/office/drawing/2008/diagram" relId="rId1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D6F10C8-2165-4019-A7B8-A7DBE5E7BB5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A59981F-26AF-4E6F-9DE6-46F3B065788D}">
      <dgm:prSet custT="1"/>
      <dgm:spPr>
        <a:solidFill>
          <a:srgbClr val="0070C0"/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>
              <a:solidFill>
                <a:srgbClr val="FFFF00"/>
              </a:solidFill>
            </a:rPr>
            <a:t>Exploration &amp; Production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* First-ever revenue from equity oil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* Discovery in three wells</a:t>
          </a:r>
          <a:endParaRPr lang="en-US" sz="2000" b="1" dirty="0"/>
        </a:p>
      </dgm:t>
    </dgm:pt>
    <dgm:pt modelId="{019B16B8-9195-4C20-B327-E3657969CA0B}" type="parTrans" cxnId="{0DA0FB7C-E752-4044-8ECE-EBF64BD9A9C2}">
      <dgm:prSet/>
      <dgm:spPr/>
      <dgm:t>
        <a:bodyPr/>
        <a:lstStyle/>
        <a:p>
          <a:endParaRPr lang="en-US" sz="2000" b="1"/>
        </a:p>
      </dgm:t>
    </dgm:pt>
    <dgm:pt modelId="{27695C8E-F910-42A2-94CC-1E888B22E61D}" type="sibTrans" cxnId="{0DA0FB7C-E752-4044-8ECE-EBF64BD9A9C2}">
      <dgm:prSet/>
      <dgm:spPr/>
      <dgm:t>
        <a:bodyPr/>
        <a:lstStyle/>
        <a:p>
          <a:endParaRPr lang="en-US" sz="2000" b="1"/>
        </a:p>
      </dgm:t>
    </dgm:pt>
    <dgm:pt modelId="{075A541C-BD20-4C72-AA21-F28FE5936FFE}">
      <dgm:prSet custT="1"/>
      <dgm:spPr/>
      <dgm:t>
        <a:bodyPr/>
        <a:lstStyle/>
        <a:p>
          <a:r>
            <a:rPr lang="en-US" sz="2000" b="1" dirty="0" smtClean="0">
              <a:solidFill>
                <a:srgbClr val="FFFF00"/>
              </a:solidFill>
            </a:rPr>
            <a:t>Sustainable development</a:t>
          </a:r>
        </a:p>
        <a:p>
          <a:r>
            <a:rPr lang="en-US" sz="2000" b="1" dirty="0" smtClean="0"/>
            <a:t>* 25 MW wind capacity added since last year</a:t>
          </a:r>
        </a:p>
      </dgm:t>
    </dgm:pt>
    <dgm:pt modelId="{B41C3CEE-BCA5-4B72-BE71-E2CF655FF032}" type="parTrans" cxnId="{29BEE2C1-3208-4EAD-8127-4520640E8505}">
      <dgm:prSet/>
      <dgm:spPr/>
      <dgm:t>
        <a:bodyPr/>
        <a:lstStyle/>
        <a:p>
          <a:endParaRPr lang="en-US"/>
        </a:p>
      </dgm:t>
    </dgm:pt>
    <dgm:pt modelId="{815A620E-D958-46F5-9E1E-928E1E18103A}" type="sibTrans" cxnId="{29BEE2C1-3208-4EAD-8127-4520640E8505}">
      <dgm:prSet/>
      <dgm:spPr/>
      <dgm:t>
        <a:bodyPr/>
        <a:lstStyle/>
        <a:p>
          <a:endParaRPr lang="en-US"/>
        </a:p>
      </dgm:t>
    </dgm:pt>
    <dgm:pt modelId="{D7BE376E-B750-44A4-A1AC-A62F414570AC}" type="pres">
      <dgm:prSet presAssocID="{FD6F10C8-2165-4019-A7B8-A7DBE5E7BB5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1306A99-B153-467D-8F8E-321C8DD8D1A1}" type="pres">
      <dgm:prSet presAssocID="{DA59981F-26AF-4E6F-9DE6-46F3B065788D}" presName="parentText" presStyleLbl="node1" presStyleIdx="0" presStyleCnt="2" custLinFactNeighborX="2722" custLinFactNeighborY="453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7027CA-13CD-4DDD-A318-9065B397BF21}" type="pres">
      <dgm:prSet presAssocID="{27695C8E-F910-42A2-94CC-1E888B22E61D}" presName="spacer" presStyleCnt="0"/>
      <dgm:spPr/>
    </dgm:pt>
    <dgm:pt modelId="{440655DF-CB7C-4D2A-B8E1-A7FB018D9807}" type="pres">
      <dgm:prSet presAssocID="{075A541C-BD20-4C72-AA21-F28FE5936FFE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DA0FB7C-E752-4044-8ECE-EBF64BD9A9C2}" srcId="{FD6F10C8-2165-4019-A7B8-A7DBE5E7BB53}" destId="{DA59981F-26AF-4E6F-9DE6-46F3B065788D}" srcOrd="0" destOrd="0" parTransId="{019B16B8-9195-4C20-B327-E3657969CA0B}" sibTransId="{27695C8E-F910-42A2-94CC-1E888B22E61D}"/>
    <dgm:cxn modelId="{29BEE2C1-3208-4EAD-8127-4520640E8505}" srcId="{FD6F10C8-2165-4019-A7B8-A7DBE5E7BB53}" destId="{075A541C-BD20-4C72-AA21-F28FE5936FFE}" srcOrd="1" destOrd="0" parTransId="{B41C3CEE-BCA5-4B72-BE71-E2CF655FF032}" sibTransId="{815A620E-D958-46F5-9E1E-928E1E18103A}"/>
    <dgm:cxn modelId="{2BB1B7B7-6E78-4E7D-B3E4-AAB4AA4858B9}" type="presOf" srcId="{FD6F10C8-2165-4019-A7B8-A7DBE5E7BB53}" destId="{D7BE376E-B750-44A4-A1AC-A62F414570AC}" srcOrd="0" destOrd="0" presId="urn:microsoft.com/office/officeart/2005/8/layout/vList2"/>
    <dgm:cxn modelId="{38D1D0A2-883A-4C55-9884-E1F95FD863D4}" type="presOf" srcId="{DA59981F-26AF-4E6F-9DE6-46F3B065788D}" destId="{71306A99-B153-467D-8F8E-321C8DD8D1A1}" srcOrd="0" destOrd="0" presId="urn:microsoft.com/office/officeart/2005/8/layout/vList2"/>
    <dgm:cxn modelId="{900FFDCE-A803-4B58-8C06-162EB3A30AA8}" type="presOf" srcId="{075A541C-BD20-4C72-AA21-F28FE5936FFE}" destId="{440655DF-CB7C-4D2A-B8E1-A7FB018D9807}" srcOrd="0" destOrd="0" presId="urn:microsoft.com/office/officeart/2005/8/layout/vList2"/>
    <dgm:cxn modelId="{FC3F4AED-5DA7-453D-914D-17C2189CA175}" type="presParOf" srcId="{D7BE376E-B750-44A4-A1AC-A62F414570AC}" destId="{71306A99-B153-467D-8F8E-321C8DD8D1A1}" srcOrd="0" destOrd="0" presId="urn:microsoft.com/office/officeart/2005/8/layout/vList2"/>
    <dgm:cxn modelId="{C29B2419-2C75-43BE-9744-3599030D4A99}" type="presParOf" srcId="{D7BE376E-B750-44A4-A1AC-A62F414570AC}" destId="{6F7027CA-13CD-4DDD-A318-9065B397BF21}" srcOrd="1" destOrd="0" presId="urn:microsoft.com/office/officeart/2005/8/layout/vList2"/>
    <dgm:cxn modelId="{F81308D0-389F-413A-8837-2E2695FCBD3D}" type="presParOf" srcId="{D7BE376E-B750-44A4-A1AC-A62F414570AC}" destId="{440655DF-CB7C-4D2A-B8E1-A7FB018D9807}" srcOrd="2" destOrd="0" presId="urn:microsoft.com/office/officeart/2005/8/layout/vList2"/>
  </dgm:cxnLst>
  <dgm:bg>
    <a:gradFill flip="none" rotWithShape="1">
      <a:gsLst>
        <a:gs pos="1770">
          <a:schemeClr val="accent3">
            <a:lumMod val="40000"/>
            <a:lumOff val="60000"/>
          </a:schemeClr>
        </a:gs>
        <a:gs pos="70000">
          <a:schemeClr val="accent1">
            <a:lumMod val="75000"/>
          </a:schemeClr>
        </a:gs>
        <a:gs pos="34000">
          <a:schemeClr val="accent2">
            <a:lumMod val="75000"/>
          </a:schemeClr>
        </a:gs>
      </a:gsLst>
      <a:path path="circle">
        <a:fillToRect r="100000" b="100000"/>
      </a:path>
      <a:tileRect l="-100000" t="-100000"/>
    </a:gradFill>
  </dgm:bg>
  <dgm:whole/>
  <dgm:extLst>
    <a:ext uri="http://schemas.microsoft.com/office/drawing/2008/diagram">
      <dsp:dataModelExt xmlns="" xmlns:dsp="http://schemas.microsoft.com/office/drawing/2008/diagram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D6F10C8-2165-4019-A7B8-A7DBE5E7BB5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BDEC55B-F70B-4839-B623-C2FE7094AC85}">
      <dgm:prSet custT="1"/>
      <dgm:spPr>
        <a:solidFill>
          <a:srgbClr val="0070C0"/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>
              <a:solidFill>
                <a:srgbClr val="FFFF00"/>
              </a:solidFill>
            </a:rPr>
            <a:t>Petrochemicals – moving ahead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>
              <a:solidFill>
                <a:schemeClr val="bg1"/>
              </a:solidFill>
            </a:rPr>
            <a:t>* 2</a:t>
          </a:r>
          <a:r>
            <a:rPr lang="en-US" sz="2000" b="1" baseline="30000" dirty="0" smtClean="0">
              <a:solidFill>
                <a:schemeClr val="bg1"/>
              </a:solidFill>
            </a:rPr>
            <a:t>nd</a:t>
          </a:r>
          <a:r>
            <a:rPr lang="en-US" sz="2000" b="1" dirty="0" smtClean="0">
              <a:solidFill>
                <a:schemeClr val="bg1"/>
              </a:solidFill>
            </a:rPr>
            <a:t> largest domestic player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>
              <a:solidFill>
                <a:schemeClr val="bg1"/>
              </a:solidFill>
            </a:rPr>
            <a:t>* 2.25 MMTPA capacity </a:t>
          </a:r>
          <a:endParaRPr lang="en-US" sz="2000" b="1" dirty="0">
            <a:solidFill>
              <a:schemeClr val="bg1"/>
            </a:solidFill>
          </a:endParaRPr>
        </a:p>
      </dgm:t>
    </dgm:pt>
    <dgm:pt modelId="{90F77E86-2268-43B0-9F22-071A0EB5B914}" type="parTrans" cxnId="{47871093-43E1-4780-9ABF-54828FE39E53}">
      <dgm:prSet/>
      <dgm:spPr/>
      <dgm:t>
        <a:bodyPr/>
        <a:lstStyle/>
        <a:p>
          <a:endParaRPr lang="en-US" sz="2000" b="1"/>
        </a:p>
      </dgm:t>
    </dgm:pt>
    <dgm:pt modelId="{7BCA471C-A4CD-4A88-BFA2-5606050C1C40}" type="sibTrans" cxnId="{47871093-43E1-4780-9ABF-54828FE39E53}">
      <dgm:prSet/>
      <dgm:spPr/>
      <dgm:t>
        <a:bodyPr/>
        <a:lstStyle/>
        <a:p>
          <a:endParaRPr lang="en-US" sz="2000" b="1"/>
        </a:p>
      </dgm:t>
    </dgm:pt>
    <dgm:pt modelId="{1034CF92-C7E9-4142-A36B-DCE3A9B15CEC}">
      <dgm:prSet custT="1"/>
      <dgm:spPr>
        <a:solidFill>
          <a:srgbClr val="0070C0"/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>
              <a:solidFill>
                <a:srgbClr val="FFFF00"/>
              </a:solidFill>
            </a:rPr>
            <a:t>Natural gas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* 8.2% domestic market share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* Aggressive infrastructure plans</a:t>
          </a:r>
          <a:endParaRPr lang="en-US" sz="2000" b="1" dirty="0"/>
        </a:p>
      </dgm:t>
    </dgm:pt>
    <dgm:pt modelId="{DEB14082-4DEA-4A50-B508-ECD7DF06EB06}" type="parTrans" cxnId="{61A4ABD3-AD8F-4AFF-8F66-00F113C734E1}">
      <dgm:prSet/>
      <dgm:spPr/>
      <dgm:t>
        <a:bodyPr/>
        <a:lstStyle/>
        <a:p>
          <a:endParaRPr lang="en-US" sz="2000" b="1"/>
        </a:p>
      </dgm:t>
    </dgm:pt>
    <dgm:pt modelId="{19CE392C-21D3-4A80-B8BE-CA2F5D588EE4}" type="sibTrans" cxnId="{61A4ABD3-AD8F-4AFF-8F66-00F113C734E1}">
      <dgm:prSet/>
      <dgm:spPr/>
      <dgm:t>
        <a:bodyPr/>
        <a:lstStyle/>
        <a:p>
          <a:endParaRPr lang="en-US" sz="2000" b="1"/>
        </a:p>
      </dgm:t>
    </dgm:pt>
    <dgm:pt modelId="{D7BE376E-B750-44A4-A1AC-A62F414570AC}" type="pres">
      <dgm:prSet presAssocID="{FD6F10C8-2165-4019-A7B8-A7DBE5E7BB5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0A5378D-3D23-4A8D-98AE-46B7C2BE2887}" type="pres">
      <dgm:prSet presAssocID="{3BDEC55B-F70B-4839-B623-C2FE7094AC85}" presName="parentText" presStyleLbl="node1" presStyleIdx="0" presStyleCnt="2" custLinFactNeighborX="126" custLinFactNeighborY="306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9C0088-5CE2-45F0-8F77-6B592EA1ACE0}" type="pres">
      <dgm:prSet presAssocID="{7BCA471C-A4CD-4A88-BFA2-5606050C1C40}" presName="spacer" presStyleCnt="0"/>
      <dgm:spPr/>
    </dgm:pt>
    <dgm:pt modelId="{9B82B463-FC1E-4346-B3CA-945C4BA78877}" type="pres">
      <dgm:prSet presAssocID="{1034CF92-C7E9-4142-A36B-DCE3A9B15CEC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1D49FE6-DE53-487B-8FD7-86554C1B8BB6}" type="presOf" srcId="{1034CF92-C7E9-4142-A36B-DCE3A9B15CEC}" destId="{9B82B463-FC1E-4346-B3CA-945C4BA78877}" srcOrd="0" destOrd="0" presId="urn:microsoft.com/office/officeart/2005/8/layout/vList2"/>
    <dgm:cxn modelId="{61A4ABD3-AD8F-4AFF-8F66-00F113C734E1}" srcId="{FD6F10C8-2165-4019-A7B8-A7DBE5E7BB53}" destId="{1034CF92-C7E9-4142-A36B-DCE3A9B15CEC}" srcOrd="1" destOrd="0" parTransId="{DEB14082-4DEA-4A50-B508-ECD7DF06EB06}" sibTransId="{19CE392C-21D3-4A80-B8BE-CA2F5D588EE4}"/>
    <dgm:cxn modelId="{B5DB2ABE-8459-4C8C-8FA1-E8333717C755}" type="presOf" srcId="{3BDEC55B-F70B-4839-B623-C2FE7094AC85}" destId="{50A5378D-3D23-4A8D-98AE-46B7C2BE2887}" srcOrd="0" destOrd="0" presId="urn:microsoft.com/office/officeart/2005/8/layout/vList2"/>
    <dgm:cxn modelId="{644003F1-0159-4FE4-A11A-1AD05C6C3916}" type="presOf" srcId="{FD6F10C8-2165-4019-A7B8-A7DBE5E7BB53}" destId="{D7BE376E-B750-44A4-A1AC-A62F414570AC}" srcOrd="0" destOrd="0" presId="urn:microsoft.com/office/officeart/2005/8/layout/vList2"/>
    <dgm:cxn modelId="{47871093-43E1-4780-9ABF-54828FE39E53}" srcId="{FD6F10C8-2165-4019-A7B8-A7DBE5E7BB53}" destId="{3BDEC55B-F70B-4839-B623-C2FE7094AC85}" srcOrd="0" destOrd="0" parTransId="{90F77E86-2268-43B0-9F22-071A0EB5B914}" sibTransId="{7BCA471C-A4CD-4A88-BFA2-5606050C1C40}"/>
    <dgm:cxn modelId="{9FFF75BE-4306-429F-9A31-0463033FA3B3}" type="presParOf" srcId="{D7BE376E-B750-44A4-A1AC-A62F414570AC}" destId="{50A5378D-3D23-4A8D-98AE-46B7C2BE2887}" srcOrd="0" destOrd="0" presId="urn:microsoft.com/office/officeart/2005/8/layout/vList2"/>
    <dgm:cxn modelId="{331F8204-93DB-4CBE-A57E-192F57585765}" type="presParOf" srcId="{D7BE376E-B750-44A4-A1AC-A62F414570AC}" destId="{2B9C0088-5CE2-45F0-8F77-6B592EA1ACE0}" srcOrd="1" destOrd="0" presId="urn:microsoft.com/office/officeart/2005/8/layout/vList2"/>
    <dgm:cxn modelId="{0E39025C-E52C-4919-878F-BFCFB65D94AF}" type="presParOf" srcId="{D7BE376E-B750-44A4-A1AC-A62F414570AC}" destId="{9B82B463-FC1E-4346-B3CA-945C4BA78877}" srcOrd="2" destOrd="0" presId="urn:microsoft.com/office/officeart/2005/8/layout/vList2"/>
  </dgm:cxnLst>
  <dgm:bg>
    <a:gradFill flip="none" rotWithShape="1">
      <a:gsLst>
        <a:gs pos="1770">
          <a:schemeClr val="accent3">
            <a:lumMod val="40000"/>
            <a:lumOff val="60000"/>
          </a:schemeClr>
        </a:gs>
        <a:gs pos="70000">
          <a:schemeClr val="accent1">
            <a:lumMod val="75000"/>
          </a:schemeClr>
        </a:gs>
        <a:gs pos="34000">
          <a:schemeClr val="accent2">
            <a:lumMod val="75000"/>
          </a:schemeClr>
        </a:gs>
      </a:gsLst>
      <a:path path="circle">
        <a:fillToRect r="100000" b="100000"/>
      </a:path>
      <a:tileRect l="-100000" t="-100000"/>
    </a:gradFill>
  </dgm:bg>
  <dgm:whole/>
  <dgm:extLst>
    <a:ext uri="http://schemas.microsoft.com/office/drawing/2008/diagram">
      <dsp:dataModelExt xmlns="" xmlns:dsp="http://schemas.microsoft.com/office/drawing/2008/diagram" relId="rId2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D6F10C8-2165-4019-A7B8-A7DBE5E7BB5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DFDD83E-8378-49D0-B2AC-836062564AE5}">
      <dgm:prSet custT="1"/>
      <dgm:spPr>
        <a:solidFill>
          <a:srgbClr val="0070C0"/>
        </a:solidFill>
      </dgm:spPr>
      <dgm:t>
        <a:bodyPr anchor="t" anchorCtr="0"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Over 100% refining capacity utilization, 6</a:t>
          </a:r>
          <a:r>
            <a:rPr lang="en-US" sz="2000" b="1" baseline="30000" dirty="0" smtClean="0"/>
            <a:t>th</a:t>
          </a:r>
          <a:r>
            <a:rPr lang="en-US" sz="2000" b="1" dirty="0" smtClean="0"/>
            <a:t> year in a row </a:t>
          </a:r>
          <a:endParaRPr lang="en-US" sz="2000" b="1" dirty="0"/>
        </a:p>
      </dgm:t>
    </dgm:pt>
    <dgm:pt modelId="{926058B2-1C03-4657-BB24-FF5AF1221A2D}" type="parTrans" cxnId="{F91AC97B-BC37-42C6-8D1F-53B30B1FCC08}">
      <dgm:prSet/>
      <dgm:spPr/>
      <dgm:t>
        <a:bodyPr/>
        <a:lstStyle/>
        <a:p>
          <a:endParaRPr lang="en-US" sz="2000" b="1"/>
        </a:p>
      </dgm:t>
    </dgm:pt>
    <dgm:pt modelId="{4A0E32F8-0762-4FEE-B723-19F6E52795B2}" type="sibTrans" cxnId="{F91AC97B-BC37-42C6-8D1F-53B30B1FCC08}">
      <dgm:prSet/>
      <dgm:spPr/>
      <dgm:t>
        <a:bodyPr/>
        <a:lstStyle/>
        <a:p>
          <a:endParaRPr lang="en-US" sz="2000" b="1"/>
        </a:p>
      </dgm:t>
    </dgm:pt>
    <dgm:pt modelId="{08C3DA4B-75C3-4AA0-B76C-81E8BF3640B6}">
      <dgm:prSet custT="1"/>
      <dgm:spPr>
        <a:solidFill>
          <a:srgbClr val="0070C0"/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Highest-ever turnover of Rs. 4,14,909 </a:t>
          </a:r>
          <a:r>
            <a:rPr lang="en-US" sz="2000" b="1" dirty="0" err="1" smtClean="0"/>
            <a:t>crore</a:t>
          </a:r>
          <a:r>
            <a:rPr lang="en-US" sz="2000" b="1" dirty="0" smtClean="0"/>
            <a:t> - a rise of 11% from 2011-12</a:t>
          </a:r>
          <a:endParaRPr lang="en-US" sz="2000" b="1" dirty="0"/>
        </a:p>
      </dgm:t>
    </dgm:pt>
    <dgm:pt modelId="{6D5E54FF-CADC-4B4A-972E-DC34F54492D7}" type="parTrans" cxnId="{D46239A6-4938-4E99-8333-83A287E5858C}">
      <dgm:prSet/>
      <dgm:spPr/>
      <dgm:t>
        <a:bodyPr/>
        <a:lstStyle/>
        <a:p>
          <a:endParaRPr lang="en-US" sz="2000"/>
        </a:p>
      </dgm:t>
    </dgm:pt>
    <dgm:pt modelId="{B5DE6278-64AE-4A28-9E81-81C928D0205D}" type="sibTrans" cxnId="{D46239A6-4938-4E99-8333-83A287E5858C}">
      <dgm:prSet/>
      <dgm:spPr/>
      <dgm:t>
        <a:bodyPr/>
        <a:lstStyle/>
        <a:p>
          <a:endParaRPr lang="en-US" sz="2000"/>
        </a:p>
      </dgm:t>
    </dgm:pt>
    <dgm:pt modelId="{C9A7DE62-4F36-4934-887A-6D5D381A8986}">
      <dgm:prSet custT="1"/>
      <dgm:spPr/>
      <dgm:t>
        <a:bodyPr/>
        <a:lstStyle/>
        <a:p>
          <a:r>
            <a:rPr lang="en-US" sz="2000" b="1" dirty="0" smtClean="0"/>
            <a:t>Bringing energy to rural India –</a:t>
          </a:r>
          <a:r>
            <a:rPr lang="en-US" sz="2000" b="1" dirty="0" err="1" smtClean="0"/>
            <a:t>Kisan</a:t>
          </a:r>
          <a:r>
            <a:rPr lang="en-US" sz="2000" b="1" dirty="0" smtClean="0"/>
            <a:t> </a:t>
          </a:r>
          <a:r>
            <a:rPr lang="en-US" sz="2000" b="1" dirty="0" err="1" smtClean="0"/>
            <a:t>Sewa</a:t>
          </a:r>
          <a:r>
            <a:rPr lang="en-US" sz="2000" b="1" dirty="0" smtClean="0"/>
            <a:t> </a:t>
          </a:r>
          <a:r>
            <a:rPr lang="en-US" sz="2000" b="1" dirty="0" err="1" smtClean="0"/>
            <a:t>Kendras</a:t>
          </a:r>
          <a:r>
            <a:rPr lang="en-US" sz="2000" b="1" dirty="0" smtClean="0"/>
            <a:t> ~ 24% of total RO network</a:t>
          </a:r>
          <a:endParaRPr lang="en-US" sz="2000" dirty="0"/>
        </a:p>
      </dgm:t>
    </dgm:pt>
    <dgm:pt modelId="{E849CB9C-86A7-4462-AAB6-B3C4C3856BAA}" type="parTrans" cxnId="{82DEFEE3-5950-4676-921F-B37DF11116FE}">
      <dgm:prSet/>
      <dgm:spPr/>
      <dgm:t>
        <a:bodyPr/>
        <a:lstStyle/>
        <a:p>
          <a:endParaRPr lang="en-US" sz="2000"/>
        </a:p>
      </dgm:t>
    </dgm:pt>
    <dgm:pt modelId="{841D4275-D34A-4F28-A2D4-4352D7E1ADD9}" type="sibTrans" cxnId="{82DEFEE3-5950-4676-921F-B37DF11116FE}">
      <dgm:prSet/>
      <dgm:spPr/>
      <dgm:t>
        <a:bodyPr/>
        <a:lstStyle/>
        <a:p>
          <a:endParaRPr lang="en-US" sz="2000"/>
        </a:p>
      </dgm:t>
    </dgm:pt>
    <dgm:pt modelId="{D7BE376E-B750-44A4-A1AC-A62F414570AC}" type="pres">
      <dgm:prSet presAssocID="{FD6F10C8-2165-4019-A7B8-A7DBE5E7BB5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33DA53E-B3A3-477B-8662-1BF4DF909BD1}" type="pres">
      <dgm:prSet presAssocID="{08C3DA4B-75C3-4AA0-B76C-81E8BF3640B6}" presName="parentText" presStyleLbl="node1" presStyleIdx="0" presStyleCnt="3" custScaleY="8170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BD07FF-C143-41ED-BDE0-EA0B99AB7D48}" type="pres">
      <dgm:prSet presAssocID="{B5DE6278-64AE-4A28-9E81-81C928D0205D}" presName="spacer" presStyleCnt="0"/>
      <dgm:spPr/>
    </dgm:pt>
    <dgm:pt modelId="{B8520EE0-5387-45F7-B812-72ED6AE08E6D}" type="pres">
      <dgm:prSet presAssocID="{9DFDD83E-8378-49D0-B2AC-836062564AE5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5C8457-BD69-42CD-BE8A-1D296DDA6A14}" type="pres">
      <dgm:prSet presAssocID="{4A0E32F8-0762-4FEE-B723-19F6E52795B2}" presName="spacer" presStyleCnt="0"/>
      <dgm:spPr/>
    </dgm:pt>
    <dgm:pt modelId="{40D5E7FB-D38D-486C-BA1F-4A19EE41BB18}" type="pres">
      <dgm:prSet presAssocID="{C9A7DE62-4F36-4934-887A-6D5D381A8986}" presName="parentText" presStyleLbl="node1" presStyleIdx="2" presStyleCnt="3" custLinFactY="2535" custLinFactNeighborX="1639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91AC97B-BC37-42C6-8D1F-53B30B1FCC08}" srcId="{FD6F10C8-2165-4019-A7B8-A7DBE5E7BB53}" destId="{9DFDD83E-8378-49D0-B2AC-836062564AE5}" srcOrd="1" destOrd="0" parTransId="{926058B2-1C03-4657-BB24-FF5AF1221A2D}" sibTransId="{4A0E32F8-0762-4FEE-B723-19F6E52795B2}"/>
    <dgm:cxn modelId="{26779441-1E99-4784-849E-7D5AEC3DCCBF}" type="presOf" srcId="{C9A7DE62-4F36-4934-887A-6D5D381A8986}" destId="{40D5E7FB-D38D-486C-BA1F-4A19EE41BB18}" srcOrd="0" destOrd="0" presId="urn:microsoft.com/office/officeart/2005/8/layout/vList2"/>
    <dgm:cxn modelId="{7705498D-68F8-4804-B401-22267B42176F}" type="presOf" srcId="{FD6F10C8-2165-4019-A7B8-A7DBE5E7BB53}" destId="{D7BE376E-B750-44A4-A1AC-A62F414570AC}" srcOrd="0" destOrd="0" presId="urn:microsoft.com/office/officeart/2005/8/layout/vList2"/>
    <dgm:cxn modelId="{33A78069-3F2C-42AD-A93B-991E7657DE36}" type="presOf" srcId="{9DFDD83E-8378-49D0-B2AC-836062564AE5}" destId="{B8520EE0-5387-45F7-B812-72ED6AE08E6D}" srcOrd="0" destOrd="0" presId="urn:microsoft.com/office/officeart/2005/8/layout/vList2"/>
    <dgm:cxn modelId="{82DEFEE3-5950-4676-921F-B37DF11116FE}" srcId="{FD6F10C8-2165-4019-A7B8-A7DBE5E7BB53}" destId="{C9A7DE62-4F36-4934-887A-6D5D381A8986}" srcOrd="2" destOrd="0" parTransId="{E849CB9C-86A7-4462-AAB6-B3C4C3856BAA}" sibTransId="{841D4275-D34A-4F28-A2D4-4352D7E1ADD9}"/>
    <dgm:cxn modelId="{46E13E4E-B592-4D6B-AE22-582EBC743906}" type="presOf" srcId="{08C3DA4B-75C3-4AA0-B76C-81E8BF3640B6}" destId="{C33DA53E-B3A3-477B-8662-1BF4DF909BD1}" srcOrd="0" destOrd="0" presId="urn:microsoft.com/office/officeart/2005/8/layout/vList2"/>
    <dgm:cxn modelId="{D46239A6-4938-4E99-8333-83A287E5858C}" srcId="{FD6F10C8-2165-4019-A7B8-A7DBE5E7BB53}" destId="{08C3DA4B-75C3-4AA0-B76C-81E8BF3640B6}" srcOrd="0" destOrd="0" parTransId="{6D5E54FF-CADC-4B4A-972E-DC34F54492D7}" sibTransId="{B5DE6278-64AE-4A28-9E81-81C928D0205D}"/>
    <dgm:cxn modelId="{74A3EDAF-B5E5-4859-BA4F-3FA3DDCCAC04}" type="presParOf" srcId="{D7BE376E-B750-44A4-A1AC-A62F414570AC}" destId="{C33DA53E-B3A3-477B-8662-1BF4DF909BD1}" srcOrd="0" destOrd="0" presId="urn:microsoft.com/office/officeart/2005/8/layout/vList2"/>
    <dgm:cxn modelId="{36504D97-FFF0-40BB-87DF-14385B803614}" type="presParOf" srcId="{D7BE376E-B750-44A4-A1AC-A62F414570AC}" destId="{53BD07FF-C143-41ED-BDE0-EA0B99AB7D48}" srcOrd="1" destOrd="0" presId="urn:microsoft.com/office/officeart/2005/8/layout/vList2"/>
    <dgm:cxn modelId="{772E0E82-3A30-4E84-B6D3-62666D08EDC8}" type="presParOf" srcId="{D7BE376E-B750-44A4-A1AC-A62F414570AC}" destId="{B8520EE0-5387-45F7-B812-72ED6AE08E6D}" srcOrd="2" destOrd="0" presId="urn:microsoft.com/office/officeart/2005/8/layout/vList2"/>
    <dgm:cxn modelId="{07E016E4-560F-4894-93A0-0961CBDC3F2D}" type="presParOf" srcId="{D7BE376E-B750-44A4-A1AC-A62F414570AC}" destId="{EF5C8457-BD69-42CD-BE8A-1D296DDA6A14}" srcOrd="3" destOrd="0" presId="urn:microsoft.com/office/officeart/2005/8/layout/vList2"/>
    <dgm:cxn modelId="{E34CBBBA-2CC6-4EF1-B179-FDDE61EF514F}" type="presParOf" srcId="{D7BE376E-B750-44A4-A1AC-A62F414570AC}" destId="{40D5E7FB-D38D-486C-BA1F-4A19EE41BB18}" srcOrd="4" destOrd="0" presId="urn:microsoft.com/office/officeart/2005/8/layout/vList2"/>
  </dgm:cxnLst>
  <dgm:bg>
    <a:gradFill flip="none" rotWithShape="1">
      <a:gsLst>
        <a:gs pos="1770">
          <a:schemeClr val="accent3">
            <a:lumMod val="40000"/>
            <a:lumOff val="60000"/>
          </a:schemeClr>
        </a:gs>
        <a:gs pos="70000">
          <a:schemeClr val="accent1">
            <a:lumMod val="75000"/>
          </a:schemeClr>
        </a:gs>
        <a:gs pos="34000">
          <a:schemeClr val="accent2">
            <a:lumMod val="75000"/>
          </a:schemeClr>
        </a:gs>
      </a:gsLst>
      <a:path path="circle">
        <a:fillToRect r="100000" b="100000"/>
      </a:path>
      <a:tileRect l="-100000" t="-100000"/>
    </a:gradFill>
  </dgm:bg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D6F10C8-2165-4019-A7B8-A7DBE5E7BB5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8C3DA4B-75C3-4AA0-B76C-81E8BF3640B6}">
      <dgm:prSet custT="1"/>
      <dgm:spPr>
        <a:solidFill>
          <a:srgbClr val="0070C0"/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49% of the domestic LPG customer base.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Record 69 </a:t>
          </a:r>
          <a:r>
            <a:rPr lang="en-US" sz="2000" b="1" dirty="0" err="1" smtClean="0"/>
            <a:t>lakh</a:t>
          </a:r>
          <a:r>
            <a:rPr lang="en-US" sz="2000" b="1" dirty="0" smtClean="0"/>
            <a:t> new LPG connections in 2012-13</a:t>
          </a:r>
          <a:endParaRPr lang="en-US" sz="2000" b="1" dirty="0"/>
        </a:p>
      </dgm:t>
    </dgm:pt>
    <dgm:pt modelId="{6D5E54FF-CADC-4B4A-972E-DC34F54492D7}" type="parTrans" cxnId="{D46239A6-4938-4E99-8333-83A287E5858C}">
      <dgm:prSet/>
      <dgm:spPr/>
      <dgm:t>
        <a:bodyPr/>
        <a:lstStyle/>
        <a:p>
          <a:endParaRPr lang="en-US" sz="2000"/>
        </a:p>
      </dgm:t>
    </dgm:pt>
    <dgm:pt modelId="{B5DE6278-64AE-4A28-9E81-81C928D0205D}" type="sibTrans" cxnId="{D46239A6-4938-4E99-8333-83A287E5858C}">
      <dgm:prSet/>
      <dgm:spPr/>
      <dgm:t>
        <a:bodyPr/>
        <a:lstStyle/>
        <a:p>
          <a:endParaRPr lang="en-US" sz="2000"/>
        </a:p>
      </dgm:t>
    </dgm:pt>
    <dgm:pt modelId="{9DFDD83E-8378-49D0-B2AC-836062564AE5}">
      <dgm:prSet custT="1"/>
      <dgm:spPr>
        <a:solidFill>
          <a:srgbClr val="0070C0"/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smtClean="0"/>
            <a:t>Commissioned Integrated Crude oil Handling Facilities at </a:t>
          </a:r>
          <a:r>
            <a:rPr lang="en-US" sz="2000" b="1" dirty="0" err="1" smtClean="0"/>
            <a:t>Paradip</a:t>
          </a:r>
          <a:endParaRPr lang="en-US" sz="2000" b="1" dirty="0"/>
        </a:p>
      </dgm:t>
    </dgm:pt>
    <dgm:pt modelId="{4A0E32F8-0762-4FEE-B723-19F6E52795B2}" type="sibTrans" cxnId="{F91AC97B-BC37-42C6-8D1F-53B30B1FCC08}">
      <dgm:prSet/>
      <dgm:spPr/>
      <dgm:t>
        <a:bodyPr/>
        <a:lstStyle/>
        <a:p>
          <a:endParaRPr lang="en-US" sz="2000" b="1"/>
        </a:p>
      </dgm:t>
    </dgm:pt>
    <dgm:pt modelId="{926058B2-1C03-4657-BB24-FF5AF1221A2D}" type="parTrans" cxnId="{F91AC97B-BC37-42C6-8D1F-53B30B1FCC08}">
      <dgm:prSet/>
      <dgm:spPr/>
      <dgm:t>
        <a:bodyPr/>
        <a:lstStyle/>
        <a:p>
          <a:endParaRPr lang="en-US" sz="2000" b="1"/>
        </a:p>
      </dgm:t>
    </dgm:pt>
    <dgm:pt modelId="{D7BE376E-B750-44A4-A1AC-A62F414570AC}" type="pres">
      <dgm:prSet presAssocID="{FD6F10C8-2165-4019-A7B8-A7DBE5E7BB5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33DA53E-B3A3-477B-8662-1BF4DF909BD1}" type="pres">
      <dgm:prSet presAssocID="{08C3DA4B-75C3-4AA0-B76C-81E8BF3640B6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BD07FF-C143-41ED-BDE0-EA0B99AB7D48}" type="pres">
      <dgm:prSet presAssocID="{B5DE6278-64AE-4A28-9E81-81C928D0205D}" presName="spacer" presStyleCnt="0"/>
      <dgm:spPr/>
    </dgm:pt>
    <dgm:pt modelId="{B8520EE0-5387-45F7-B812-72ED6AE08E6D}" type="pres">
      <dgm:prSet presAssocID="{9DFDD83E-8378-49D0-B2AC-836062564AE5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27262EE-777A-48A2-A5ED-A974D31A15AC}" type="presOf" srcId="{08C3DA4B-75C3-4AA0-B76C-81E8BF3640B6}" destId="{C33DA53E-B3A3-477B-8662-1BF4DF909BD1}" srcOrd="0" destOrd="0" presId="urn:microsoft.com/office/officeart/2005/8/layout/vList2"/>
    <dgm:cxn modelId="{F91AC97B-BC37-42C6-8D1F-53B30B1FCC08}" srcId="{FD6F10C8-2165-4019-A7B8-A7DBE5E7BB53}" destId="{9DFDD83E-8378-49D0-B2AC-836062564AE5}" srcOrd="1" destOrd="0" parTransId="{926058B2-1C03-4657-BB24-FF5AF1221A2D}" sibTransId="{4A0E32F8-0762-4FEE-B723-19F6E52795B2}"/>
    <dgm:cxn modelId="{8AC6ACDB-4F63-4139-BA2C-463EC8F19B2C}" type="presOf" srcId="{FD6F10C8-2165-4019-A7B8-A7DBE5E7BB53}" destId="{D7BE376E-B750-44A4-A1AC-A62F414570AC}" srcOrd="0" destOrd="0" presId="urn:microsoft.com/office/officeart/2005/8/layout/vList2"/>
    <dgm:cxn modelId="{C9780BD2-2AC2-4C79-B2A2-CD026F6A5AA5}" type="presOf" srcId="{9DFDD83E-8378-49D0-B2AC-836062564AE5}" destId="{B8520EE0-5387-45F7-B812-72ED6AE08E6D}" srcOrd="0" destOrd="0" presId="urn:microsoft.com/office/officeart/2005/8/layout/vList2"/>
    <dgm:cxn modelId="{D46239A6-4938-4E99-8333-83A287E5858C}" srcId="{FD6F10C8-2165-4019-A7B8-A7DBE5E7BB53}" destId="{08C3DA4B-75C3-4AA0-B76C-81E8BF3640B6}" srcOrd="0" destOrd="0" parTransId="{6D5E54FF-CADC-4B4A-972E-DC34F54492D7}" sibTransId="{B5DE6278-64AE-4A28-9E81-81C928D0205D}"/>
    <dgm:cxn modelId="{4C7F94FD-AFF7-4D2F-A65A-82F56F298EBD}" type="presParOf" srcId="{D7BE376E-B750-44A4-A1AC-A62F414570AC}" destId="{C33DA53E-B3A3-477B-8662-1BF4DF909BD1}" srcOrd="0" destOrd="0" presId="urn:microsoft.com/office/officeart/2005/8/layout/vList2"/>
    <dgm:cxn modelId="{2C0D2682-329E-4D6A-BA62-61D32764D3D9}" type="presParOf" srcId="{D7BE376E-B750-44A4-A1AC-A62F414570AC}" destId="{53BD07FF-C143-41ED-BDE0-EA0B99AB7D48}" srcOrd="1" destOrd="0" presId="urn:microsoft.com/office/officeart/2005/8/layout/vList2"/>
    <dgm:cxn modelId="{06C47BB3-9A89-44CC-AB80-40B7FE33FAF9}" type="presParOf" srcId="{D7BE376E-B750-44A4-A1AC-A62F414570AC}" destId="{B8520EE0-5387-45F7-B812-72ED6AE08E6D}" srcOrd="2" destOrd="0" presId="urn:microsoft.com/office/officeart/2005/8/layout/vList2"/>
  </dgm:cxnLst>
  <dgm:bg>
    <a:gradFill flip="none" rotWithShape="1">
      <a:gsLst>
        <a:gs pos="1770">
          <a:schemeClr val="accent3">
            <a:lumMod val="40000"/>
            <a:lumOff val="60000"/>
          </a:schemeClr>
        </a:gs>
        <a:gs pos="70000">
          <a:schemeClr val="accent1">
            <a:lumMod val="75000"/>
          </a:schemeClr>
        </a:gs>
        <a:gs pos="34000">
          <a:schemeClr val="accent2">
            <a:lumMod val="75000"/>
          </a:schemeClr>
        </a:gs>
      </a:gsLst>
      <a:path path="circle">
        <a:fillToRect r="100000" b="100000"/>
      </a:path>
      <a:tileRect l="-100000" t="-100000"/>
    </a:gradFill>
  </dgm:bg>
  <dgm:whole/>
  <dgm:extLst>
    <a:ext uri="http://schemas.microsoft.com/office/drawing/2008/diagram">
      <dsp:dataModelExt xmlns="" xmlns:dsp="http://schemas.microsoft.com/office/drawing/2008/diagram" relId="rId13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3C6D024-8B73-4877-9DB5-5728A4B3C33D}" type="doc">
      <dgm:prSet loTypeId="urn:microsoft.com/office/officeart/2005/8/layout/vList6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589E355-AA12-46E3-A319-A6E254005CF8}">
      <dgm:prSet phldrT="[Text]" custT="1"/>
      <dgm:spPr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2000" b="1" dirty="0" smtClean="0">
              <a:solidFill>
                <a:schemeClr val="tx2">
                  <a:lumMod val="50000"/>
                </a:schemeClr>
              </a:solidFill>
              <a:latin typeface="Calibri" pitchFamily="34" charset="0"/>
            </a:rPr>
            <a:t>IndianOil Mauritius Ltd. </a:t>
          </a:r>
        </a:p>
      </dgm:t>
    </dgm:pt>
    <dgm:pt modelId="{A7A4D7F0-638E-4912-84D4-620AFFF9BD1E}" type="parTrans" cxnId="{5F9BB55D-216F-4C1F-8FF2-5F2B34935FBB}">
      <dgm:prSet/>
      <dgm:spPr/>
      <dgm:t>
        <a:bodyPr/>
        <a:lstStyle/>
        <a:p>
          <a:endParaRPr lang="en-US"/>
        </a:p>
      </dgm:t>
    </dgm:pt>
    <dgm:pt modelId="{DABB450B-DC32-4696-96BF-177384D340FA}" type="sibTrans" cxnId="{5F9BB55D-216F-4C1F-8FF2-5F2B34935FBB}">
      <dgm:prSet/>
      <dgm:spPr/>
      <dgm:t>
        <a:bodyPr/>
        <a:lstStyle/>
        <a:p>
          <a:endParaRPr lang="en-US"/>
        </a:p>
      </dgm:t>
    </dgm:pt>
    <dgm:pt modelId="{CCAEEEDB-E46F-48C8-8E2F-C2E68BB741DA}">
      <dgm:prSet phldrT="[Text]" custT="1"/>
      <dgm:spPr>
        <a:solidFill>
          <a:schemeClr val="bg1">
            <a:lumMod val="65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z="2000" b="1" dirty="0" smtClean="0">
              <a:solidFill>
                <a:srgbClr val="002060"/>
              </a:solidFill>
              <a:latin typeface="Calibri" pitchFamily="34" charset="0"/>
            </a:rPr>
            <a:t>Lanka IOC Ltd.</a:t>
          </a:r>
        </a:p>
      </dgm:t>
    </dgm:pt>
    <dgm:pt modelId="{3F33E944-D22C-4AE4-9111-5C735525D961}" type="parTrans" cxnId="{F4BB1E32-F4F1-452C-A367-5EE4A5D38C80}">
      <dgm:prSet/>
      <dgm:spPr/>
      <dgm:t>
        <a:bodyPr/>
        <a:lstStyle/>
        <a:p>
          <a:endParaRPr lang="en-US"/>
        </a:p>
      </dgm:t>
    </dgm:pt>
    <dgm:pt modelId="{6FDA7384-34DE-4E36-93F6-80C302373860}" type="sibTrans" cxnId="{F4BB1E32-F4F1-452C-A367-5EE4A5D38C80}">
      <dgm:prSet/>
      <dgm:spPr/>
      <dgm:t>
        <a:bodyPr/>
        <a:lstStyle/>
        <a:p>
          <a:endParaRPr lang="en-US"/>
        </a:p>
      </dgm:t>
    </dgm:pt>
    <dgm:pt modelId="{F07925A4-8CE4-4EFE-A8C4-E8269F0FD84D}">
      <dgm:prSet phldrT="[Text]" custT="1"/>
      <dgm:spPr>
        <a:solidFill>
          <a:schemeClr val="bg1">
            <a:lumMod val="95000"/>
            <a:alpha val="89804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 anchor="ctr"/>
        <a:lstStyle/>
        <a:p>
          <a:pPr>
            <a:lnSpc>
              <a:spcPct val="100000"/>
            </a:lnSpc>
          </a:pPr>
          <a:r>
            <a:rPr lang="en-US" sz="1600" b="1" dirty="0" smtClean="0">
              <a:latin typeface="+mj-lt"/>
            </a:rPr>
            <a:t>Storage, terminaling &amp; retail</a:t>
          </a:r>
        </a:p>
      </dgm:t>
    </dgm:pt>
    <dgm:pt modelId="{CA25425A-409F-4C2D-878E-B756DCB91302}" type="parTrans" cxnId="{1BC49E56-3D42-481C-B0B5-3E51303C54DB}">
      <dgm:prSet/>
      <dgm:spPr/>
      <dgm:t>
        <a:bodyPr/>
        <a:lstStyle/>
        <a:p>
          <a:endParaRPr lang="en-US"/>
        </a:p>
      </dgm:t>
    </dgm:pt>
    <dgm:pt modelId="{8D2EDC3D-9040-454A-829E-8FEF5DEBC7E1}" type="sibTrans" cxnId="{1BC49E56-3D42-481C-B0B5-3E51303C54DB}">
      <dgm:prSet/>
      <dgm:spPr/>
      <dgm:t>
        <a:bodyPr/>
        <a:lstStyle/>
        <a:p>
          <a:endParaRPr lang="en-US"/>
        </a:p>
      </dgm:t>
    </dgm:pt>
    <dgm:pt modelId="{894C7F64-3D35-42B6-929D-7431A7C7A145}">
      <dgm:prSet phldrT="[Text]" custT="1"/>
      <dgm:spPr>
        <a:solidFill>
          <a:schemeClr val="bg1">
            <a:lumMod val="95000"/>
            <a:alpha val="89804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 anchor="ctr"/>
        <a:lstStyle/>
        <a:p>
          <a:pPr>
            <a:lnSpc>
              <a:spcPct val="100000"/>
            </a:lnSpc>
          </a:pPr>
          <a:r>
            <a:rPr lang="en-US" sz="1600" b="1" dirty="0" smtClean="0">
              <a:latin typeface="+mj-lt"/>
            </a:rPr>
            <a:t>157 retail outlets</a:t>
          </a:r>
        </a:p>
      </dgm:t>
    </dgm:pt>
    <dgm:pt modelId="{9FAA18E7-5046-43B4-90B8-A72BED6DCCB9}" type="parTrans" cxnId="{F362CC5D-1F33-4631-AAC5-5626CFA05850}">
      <dgm:prSet/>
      <dgm:spPr/>
      <dgm:t>
        <a:bodyPr/>
        <a:lstStyle/>
        <a:p>
          <a:endParaRPr lang="en-US"/>
        </a:p>
      </dgm:t>
    </dgm:pt>
    <dgm:pt modelId="{8B4C7862-BAA6-42CD-960D-C3F1B30A9DC9}" type="sibTrans" cxnId="{F362CC5D-1F33-4631-AAC5-5626CFA05850}">
      <dgm:prSet/>
      <dgm:spPr/>
      <dgm:t>
        <a:bodyPr/>
        <a:lstStyle/>
        <a:p>
          <a:endParaRPr lang="en-US"/>
        </a:p>
      </dgm:t>
    </dgm:pt>
    <dgm:pt modelId="{A529299D-EC7A-4F65-AC2F-6D6058CE27C1}">
      <dgm:prSet phldrT="[Text]" custT="1"/>
      <dgm:spPr>
        <a:solidFill>
          <a:schemeClr val="accent6">
            <a:lumMod val="20000"/>
            <a:lumOff val="80000"/>
            <a:alpha val="89804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 anchor="ctr"/>
        <a:lstStyle/>
        <a:p>
          <a:pPr>
            <a:lnSpc>
              <a:spcPct val="100000"/>
            </a:lnSpc>
          </a:pPr>
          <a:r>
            <a:rPr lang="en-US" sz="1600" b="1" dirty="0" smtClean="0">
              <a:solidFill>
                <a:schemeClr val="tx1"/>
              </a:solidFill>
              <a:latin typeface="+mj-lt"/>
            </a:rPr>
            <a:t>Aviation, terminaling &amp; retail</a:t>
          </a:r>
          <a:endParaRPr lang="en-US" sz="1600" b="1" dirty="0">
            <a:solidFill>
              <a:schemeClr val="tx1"/>
            </a:solidFill>
            <a:latin typeface="+mj-lt"/>
          </a:endParaRPr>
        </a:p>
      </dgm:t>
    </dgm:pt>
    <dgm:pt modelId="{4265E1C6-AA64-4DE3-9550-F59382053420}" type="parTrans" cxnId="{F2A000E0-381D-4808-8519-118379986380}">
      <dgm:prSet/>
      <dgm:spPr/>
      <dgm:t>
        <a:bodyPr/>
        <a:lstStyle/>
        <a:p>
          <a:endParaRPr lang="en-US"/>
        </a:p>
      </dgm:t>
    </dgm:pt>
    <dgm:pt modelId="{C9FFC80D-6551-45A0-8779-7B783CDC07E5}" type="sibTrans" cxnId="{F2A000E0-381D-4808-8519-118379986380}">
      <dgm:prSet/>
      <dgm:spPr/>
      <dgm:t>
        <a:bodyPr/>
        <a:lstStyle/>
        <a:p>
          <a:endParaRPr lang="en-US"/>
        </a:p>
      </dgm:t>
    </dgm:pt>
    <dgm:pt modelId="{582579F4-5BAD-4135-B7A2-C22EF1C1BAB1}">
      <dgm:prSet phldrT="[Text]" custT="1"/>
      <dgm:spPr>
        <a:solidFill>
          <a:schemeClr val="accent6">
            <a:lumMod val="20000"/>
            <a:lumOff val="80000"/>
            <a:alpha val="89804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 anchor="ctr"/>
        <a:lstStyle/>
        <a:p>
          <a:pPr>
            <a:lnSpc>
              <a:spcPct val="100000"/>
            </a:lnSpc>
          </a:pPr>
          <a:r>
            <a:rPr lang="en-US" sz="1600" b="1" dirty="0" smtClean="0">
              <a:solidFill>
                <a:schemeClr val="tx1"/>
              </a:solidFill>
              <a:latin typeface="+mj-lt"/>
            </a:rPr>
            <a:t>24,000 MT storage terminal</a:t>
          </a:r>
          <a:endParaRPr lang="en-US" sz="1600" b="1" dirty="0">
            <a:solidFill>
              <a:schemeClr val="tx1"/>
            </a:solidFill>
            <a:latin typeface="+mj-lt"/>
          </a:endParaRPr>
        </a:p>
      </dgm:t>
    </dgm:pt>
    <dgm:pt modelId="{F898FB44-2F95-4A86-A587-004ED0FB7406}" type="parTrans" cxnId="{3AC19439-8605-49EE-BF13-97D9D1805F1B}">
      <dgm:prSet/>
      <dgm:spPr/>
      <dgm:t>
        <a:bodyPr/>
        <a:lstStyle/>
        <a:p>
          <a:endParaRPr lang="en-US"/>
        </a:p>
      </dgm:t>
    </dgm:pt>
    <dgm:pt modelId="{0CC463BA-78BA-42B2-86BD-FA4EBC3B52FC}" type="sibTrans" cxnId="{3AC19439-8605-49EE-BF13-97D9D1805F1B}">
      <dgm:prSet/>
      <dgm:spPr/>
      <dgm:t>
        <a:bodyPr/>
        <a:lstStyle/>
        <a:p>
          <a:endParaRPr lang="en-US"/>
        </a:p>
      </dgm:t>
    </dgm:pt>
    <dgm:pt modelId="{A0852E1F-4F77-4D81-A69D-C57CFD3B3A7F}">
      <dgm:prSet phldrT="[Text]" custT="1"/>
      <dgm:spPr>
        <a:solidFill>
          <a:schemeClr val="accent6">
            <a:lumMod val="20000"/>
            <a:lumOff val="80000"/>
            <a:alpha val="89804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 anchor="ctr"/>
        <a:lstStyle/>
        <a:p>
          <a:pPr>
            <a:lnSpc>
              <a:spcPct val="100000"/>
            </a:lnSpc>
          </a:pPr>
          <a:r>
            <a:rPr lang="en-US" sz="1600" b="1" dirty="0" smtClean="0">
              <a:solidFill>
                <a:schemeClr val="tx1"/>
              </a:solidFill>
              <a:latin typeface="+mj-lt"/>
            </a:rPr>
            <a:t>18 retail outlets</a:t>
          </a:r>
          <a:endParaRPr lang="en-US" sz="1600" b="1" dirty="0">
            <a:solidFill>
              <a:schemeClr val="tx1"/>
            </a:solidFill>
            <a:latin typeface="+mj-lt"/>
          </a:endParaRPr>
        </a:p>
      </dgm:t>
    </dgm:pt>
    <dgm:pt modelId="{32970D85-D5A4-4646-9131-53E56FE036F0}" type="parTrans" cxnId="{B0D6C937-5EDF-4AFF-B1C5-A94E085B8844}">
      <dgm:prSet/>
      <dgm:spPr/>
      <dgm:t>
        <a:bodyPr/>
        <a:lstStyle/>
        <a:p>
          <a:endParaRPr lang="en-US"/>
        </a:p>
      </dgm:t>
    </dgm:pt>
    <dgm:pt modelId="{0063900D-58E1-4280-9911-C492169F9DC8}" type="sibTrans" cxnId="{B0D6C937-5EDF-4AFF-B1C5-A94E085B8844}">
      <dgm:prSet/>
      <dgm:spPr/>
      <dgm:t>
        <a:bodyPr/>
        <a:lstStyle/>
        <a:p>
          <a:endParaRPr lang="en-US"/>
        </a:p>
      </dgm:t>
    </dgm:pt>
    <dgm:pt modelId="{2A51DED6-1D3A-4E84-B28B-48E6EB6C5A56}">
      <dgm:prSet phldrT="[Text]" custT="1"/>
      <dgm:spPr>
        <a:solidFill>
          <a:schemeClr val="bg1">
            <a:lumMod val="95000"/>
            <a:alpha val="89804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 anchor="ctr"/>
        <a:lstStyle/>
        <a:p>
          <a:pPr>
            <a:lnSpc>
              <a:spcPct val="100000"/>
            </a:lnSpc>
          </a:pPr>
          <a:r>
            <a:rPr lang="en-US" sz="1600" b="1" dirty="0" smtClean="0">
              <a:latin typeface="+mj-lt"/>
            </a:rPr>
            <a:t>Bunkering, lube blending &amp; marketing, bitumen</a:t>
          </a:r>
        </a:p>
      </dgm:t>
    </dgm:pt>
    <dgm:pt modelId="{8F82C6BD-B66A-4C77-97AC-E230D7F04A2C}" type="parTrans" cxnId="{62F89581-EA95-4F93-96EF-D147B41094AE}">
      <dgm:prSet/>
      <dgm:spPr/>
    </dgm:pt>
    <dgm:pt modelId="{5476569B-8584-4C8E-8F80-4F0C8E084E67}" type="sibTrans" cxnId="{62F89581-EA95-4F93-96EF-D147B41094AE}">
      <dgm:prSet/>
      <dgm:spPr/>
    </dgm:pt>
    <dgm:pt modelId="{C536F82D-3E6D-424E-9F79-1201220DA32F}" type="pres">
      <dgm:prSet presAssocID="{B3C6D024-8B73-4877-9DB5-5728A4B3C33D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B177B62D-7085-4F66-9E97-DB248D0F27AA}" type="pres">
      <dgm:prSet presAssocID="{8589E355-AA12-46E3-A319-A6E254005CF8}" presName="linNode" presStyleCnt="0"/>
      <dgm:spPr/>
    </dgm:pt>
    <dgm:pt modelId="{97C03403-6B35-4F12-A7B2-09B12FD11639}" type="pres">
      <dgm:prSet presAssocID="{8589E355-AA12-46E3-A319-A6E254005CF8}" presName="parentShp" presStyleLbl="node1" presStyleIdx="0" presStyleCnt="2" custScaleX="7651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104FB5-D460-488C-99E7-972626876BF9}" type="pres">
      <dgm:prSet presAssocID="{8589E355-AA12-46E3-A319-A6E254005CF8}" presName="childShp" presStyleLbl="bgAccFollowNode1" presStyleIdx="0" presStyleCnt="2" custScaleX="11565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4FD7EB-72A4-40BA-9B0F-B31C090CE228}" type="pres">
      <dgm:prSet presAssocID="{DABB450B-DC32-4696-96BF-177384D340FA}" presName="spacing" presStyleCnt="0"/>
      <dgm:spPr/>
    </dgm:pt>
    <dgm:pt modelId="{9C25330F-32E4-45E0-B890-EAE07AFEFA0F}" type="pres">
      <dgm:prSet presAssocID="{CCAEEEDB-E46F-48C8-8E2F-C2E68BB741DA}" presName="linNode" presStyleCnt="0"/>
      <dgm:spPr/>
    </dgm:pt>
    <dgm:pt modelId="{E8FE98F5-1686-4FC2-9C7A-F173B91FFD63}" type="pres">
      <dgm:prSet presAssocID="{CCAEEEDB-E46F-48C8-8E2F-C2E68BB741DA}" presName="parentShp" presStyleLbl="node1" presStyleIdx="1" presStyleCnt="2" custScaleX="7651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4B34EA-9194-4C56-893D-F51B1ED3A142}" type="pres">
      <dgm:prSet presAssocID="{CCAEEEDB-E46F-48C8-8E2F-C2E68BB741DA}" presName="childShp" presStyleLbl="bgAccFollowNode1" presStyleIdx="1" presStyleCnt="2" custScaleX="11565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2F89581-EA95-4F93-96EF-D147B41094AE}" srcId="{CCAEEEDB-E46F-48C8-8E2F-C2E68BB741DA}" destId="{2A51DED6-1D3A-4E84-B28B-48E6EB6C5A56}" srcOrd="2" destOrd="0" parTransId="{8F82C6BD-B66A-4C77-97AC-E230D7F04A2C}" sibTransId="{5476569B-8584-4C8E-8F80-4F0C8E084E67}"/>
    <dgm:cxn modelId="{2E543CC3-26D9-4B61-A14B-C4763A0A40D9}" type="presOf" srcId="{582579F4-5BAD-4135-B7A2-C22EF1C1BAB1}" destId="{72104FB5-D460-488C-99E7-972626876BF9}" srcOrd="0" destOrd="1" presId="urn:microsoft.com/office/officeart/2005/8/layout/vList6"/>
    <dgm:cxn modelId="{E55AA39F-22C5-413A-862A-DB7005450A61}" type="presOf" srcId="{8589E355-AA12-46E3-A319-A6E254005CF8}" destId="{97C03403-6B35-4F12-A7B2-09B12FD11639}" srcOrd="0" destOrd="0" presId="urn:microsoft.com/office/officeart/2005/8/layout/vList6"/>
    <dgm:cxn modelId="{F362CC5D-1F33-4631-AAC5-5626CFA05850}" srcId="{CCAEEEDB-E46F-48C8-8E2F-C2E68BB741DA}" destId="{894C7F64-3D35-42B6-929D-7431A7C7A145}" srcOrd="1" destOrd="0" parTransId="{9FAA18E7-5046-43B4-90B8-A72BED6DCCB9}" sibTransId="{8B4C7862-BAA6-42CD-960D-C3F1B30A9DC9}"/>
    <dgm:cxn modelId="{3AC19439-8605-49EE-BF13-97D9D1805F1B}" srcId="{8589E355-AA12-46E3-A319-A6E254005CF8}" destId="{582579F4-5BAD-4135-B7A2-C22EF1C1BAB1}" srcOrd="1" destOrd="0" parTransId="{F898FB44-2F95-4A86-A587-004ED0FB7406}" sibTransId="{0CC463BA-78BA-42B2-86BD-FA4EBC3B52FC}"/>
    <dgm:cxn modelId="{F2A000E0-381D-4808-8519-118379986380}" srcId="{8589E355-AA12-46E3-A319-A6E254005CF8}" destId="{A529299D-EC7A-4F65-AC2F-6D6058CE27C1}" srcOrd="0" destOrd="0" parTransId="{4265E1C6-AA64-4DE3-9550-F59382053420}" sibTransId="{C9FFC80D-6551-45A0-8779-7B783CDC07E5}"/>
    <dgm:cxn modelId="{1DC34CD5-2326-486A-87FB-A4AF3E49656F}" type="presOf" srcId="{F07925A4-8CE4-4EFE-A8C4-E8269F0FD84D}" destId="{7E4B34EA-9194-4C56-893D-F51B1ED3A142}" srcOrd="0" destOrd="0" presId="urn:microsoft.com/office/officeart/2005/8/layout/vList6"/>
    <dgm:cxn modelId="{9A8FAF5B-801C-4EDD-8A8F-13CDCF5D5FE1}" type="presOf" srcId="{B3C6D024-8B73-4877-9DB5-5728A4B3C33D}" destId="{C536F82D-3E6D-424E-9F79-1201220DA32F}" srcOrd="0" destOrd="0" presId="urn:microsoft.com/office/officeart/2005/8/layout/vList6"/>
    <dgm:cxn modelId="{EBD15205-D8F9-42E1-AE21-946A80D7F0A8}" type="presOf" srcId="{A0852E1F-4F77-4D81-A69D-C57CFD3B3A7F}" destId="{72104FB5-D460-488C-99E7-972626876BF9}" srcOrd="0" destOrd="2" presId="urn:microsoft.com/office/officeart/2005/8/layout/vList6"/>
    <dgm:cxn modelId="{752CFDA3-25AD-4E80-B446-86D731667EC7}" type="presOf" srcId="{894C7F64-3D35-42B6-929D-7431A7C7A145}" destId="{7E4B34EA-9194-4C56-893D-F51B1ED3A142}" srcOrd="0" destOrd="1" presId="urn:microsoft.com/office/officeart/2005/8/layout/vList6"/>
    <dgm:cxn modelId="{F4BB1E32-F4F1-452C-A367-5EE4A5D38C80}" srcId="{B3C6D024-8B73-4877-9DB5-5728A4B3C33D}" destId="{CCAEEEDB-E46F-48C8-8E2F-C2E68BB741DA}" srcOrd="1" destOrd="0" parTransId="{3F33E944-D22C-4AE4-9111-5C735525D961}" sibTransId="{6FDA7384-34DE-4E36-93F6-80C302373860}"/>
    <dgm:cxn modelId="{38E398D6-83D8-4D05-9CB0-31386CF15516}" type="presOf" srcId="{A529299D-EC7A-4F65-AC2F-6D6058CE27C1}" destId="{72104FB5-D460-488C-99E7-972626876BF9}" srcOrd="0" destOrd="0" presId="urn:microsoft.com/office/officeart/2005/8/layout/vList6"/>
    <dgm:cxn modelId="{1BC49E56-3D42-481C-B0B5-3E51303C54DB}" srcId="{CCAEEEDB-E46F-48C8-8E2F-C2E68BB741DA}" destId="{F07925A4-8CE4-4EFE-A8C4-E8269F0FD84D}" srcOrd="0" destOrd="0" parTransId="{CA25425A-409F-4C2D-878E-B756DCB91302}" sibTransId="{8D2EDC3D-9040-454A-829E-8FEF5DEBC7E1}"/>
    <dgm:cxn modelId="{49B39A71-D066-40B7-95D3-9B7CF8DF3C48}" type="presOf" srcId="{CCAEEEDB-E46F-48C8-8E2F-C2E68BB741DA}" destId="{E8FE98F5-1686-4FC2-9C7A-F173B91FFD63}" srcOrd="0" destOrd="0" presId="urn:microsoft.com/office/officeart/2005/8/layout/vList6"/>
    <dgm:cxn modelId="{D1B8BD6E-036E-4D62-AA9B-6012F47174BC}" type="presOf" srcId="{2A51DED6-1D3A-4E84-B28B-48E6EB6C5A56}" destId="{7E4B34EA-9194-4C56-893D-F51B1ED3A142}" srcOrd="0" destOrd="2" presId="urn:microsoft.com/office/officeart/2005/8/layout/vList6"/>
    <dgm:cxn modelId="{5F9BB55D-216F-4C1F-8FF2-5F2B34935FBB}" srcId="{B3C6D024-8B73-4877-9DB5-5728A4B3C33D}" destId="{8589E355-AA12-46E3-A319-A6E254005CF8}" srcOrd="0" destOrd="0" parTransId="{A7A4D7F0-638E-4912-84D4-620AFFF9BD1E}" sibTransId="{DABB450B-DC32-4696-96BF-177384D340FA}"/>
    <dgm:cxn modelId="{B0D6C937-5EDF-4AFF-B1C5-A94E085B8844}" srcId="{8589E355-AA12-46E3-A319-A6E254005CF8}" destId="{A0852E1F-4F77-4D81-A69D-C57CFD3B3A7F}" srcOrd="2" destOrd="0" parTransId="{32970D85-D5A4-4646-9131-53E56FE036F0}" sibTransId="{0063900D-58E1-4280-9911-C492169F9DC8}"/>
    <dgm:cxn modelId="{03E2C4B8-0455-4160-B72F-21F49480BB93}" type="presParOf" srcId="{C536F82D-3E6D-424E-9F79-1201220DA32F}" destId="{B177B62D-7085-4F66-9E97-DB248D0F27AA}" srcOrd="0" destOrd="0" presId="urn:microsoft.com/office/officeart/2005/8/layout/vList6"/>
    <dgm:cxn modelId="{C5D4D9CC-144B-44B5-A095-C28F8653D378}" type="presParOf" srcId="{B177B62D-7085-4F66-9E97-DB248D0F27AA}" destId="{97C03403-6B35-4F12-A7B2-09B12FD11639}" srcOrd="0" destOrd="0" presId="urn:microsoft.com/office/officeart/2005/8/layout/vList6"/>
    <dgm:cxn modelId="{6995ED99-5EFB-4D49-8C62-92414D3769E5}" type="presParOf" srcId="{B177B62D-7085-4F66-9E97-DB248D0F27AA}" destId="{72104FB5-D460-488C-99E7-972626876BF9}" srcOrd="1" destOrd="0" presId="urn:microsoft.com/office/officeart/2005/8/layout/vList6"/>
    <dgm:cxn modelId="{E930DE4C-6EA3-4160-BE1F-F7D8B6BB3B51}" type="presParOf" srcId="{C536F82D-3E6D-424E-9F79-1201220DA32F}" destId="{6B4FD7EB-72A4-40BA-9B0F-B31C090CE228}" srcOrd="1" destOrd="0" presId="urn:microsoft.com/office/officeart/2005/8/layout/vList6"/>
    <dgm:cxn modelId="{28F5D799-E910-44CD-8B6D-86F094AB060A}" type="presParOf" srcId="{C536F82D-3E6D-424E-9F79-1201220DA32F}" destId="{9C25330F-32E4-45E0-B890-EAE07AFEFA0F}" srcOrd="2" destOrd="0" presId="urn:microsoft.com/office/officeart/2005/8/layout/vList6"/>
    <dgm:cxn modelId="{588F5C2F-DCDE-495E-8007-3A174971CE8A}" type="presParOf" srcId="{9C25330F-32E4-45E0-B890-EAE07AFEFA0F}" destId="{E8FE98F5-1686-4FC2-9C7A-F173B91FFD63}" srcOrd="0" destOrd="0" presId="urn:microsoft.com/office/officeart/2005/8/layout/vList6"/>
    <dgm:cxn modelId="{68836DB7-9F19-4665-8222-F7568A63D902}" type="presParOf" srcId="{9C25330F-32E4-45E0-B890-EAE07AFEFA0F}" destId="{7E4B34EA-9194-4C56-893D-F51B1ED3A142}" srcOrd="1" destOrd="0" presId="urn:microsoft.com/office/officeart/2005/8/layout/vList6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47B9F7A-3330-4818-951A-B6CC6DF43421}">
      <dsp:nvSpPr>
        <dsp:cNvPr id="0" name=""/>
        <dsp:cNvSpPr/>
      </dsp:nvSpPr>
      <dsp:spPr>
        <a:xfrm>
          <a:off x="0" y="0"/>
          <a:ext cx="6160770" cy="850392"/>
        </a:xfrm>
        <a:prstGeom prst="roundRect">
          <a:avLst>
            <a:gd name="adj" fmla="val 10000"/>
          </a:avLst>
        </a:prstGeom>
        <a:solidFill>
          <a:srgbClr val="FB9705">
            <a:alpha val="7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90500" h="190500"/>
          <a:bevelB w="0" h="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>
              <a:solidFill>
                <a:srgbClr val="002060"/>
              </a:solidFill>
            </a:rPr>
            <a:t>Industry synopsis…</a:t>
          </a:r>
        </a:p>
      </dsp:txBody>
      <dsp:txXfrm>
        <a:off x="0" y="0"/>
        <a:ext cx="5193449" cy="850392"/>
      </dsp:txXfrm>
    </dsp:sp>
    <dsp:sp modelId="{02D51624-57C3-4300-9FBB-1E16187F56BA}">
      <dsp:nvSpPr>
        <dsp:cNvPr id="0" name=""/>
        <dsp:cNvSpPr/>
      </dsp:nvSpPr>
      <dsp:spPr>
        <a:xfrm>
          <a:off x="460057" y="968502"/>
          <a:ext cx="6160770" cy="8503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 val="7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90500" h="190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>
              <a:solidFill>
                <a:srgbClr val="002060"/>
              </a:solidFill>
            </a:rPr>
            <a:t>At the core of IndianOil…</a:t>
          </a:r>
          <a:endParaRPr lang="en-US" sz="3600" kern="1200" dirty="0">
            <a:solidFill>
              <a:srgbClr val="002060"/>
            </a:solidFill>
          </a:endParaRPr>
        </a:p>
      </dsp:txBody>
      <dsp:txXfrm>
        <a:off x="460057" y="968502"/>
        <a:ext cx="5147957" cy="850392"/>
      </dsp:txXfrm>
    </dsp:sp>
    <dsp:sp modelId="{33CB0078-87CA-4666-941C-E4A05E43D72D}">
      <dsp:nvSpPr>
        <dsp:cNvPr id="0" name=""/>
        <dsp:cNvSpPr/>
      </dsp:nvSpPr>
      <dsp:spPr>
        <a:xfrm>
          <a:off x="920114" y="1937003"/>
          <a:ext cx="6160770" cy="850392"/>
        </a:xfrm>
        <a:prstGeom prst="roundRect">
          <a:avLst>
            <a:gd name="adj" fmla="val 10000"/>
          </a:avLst>
        </a:prstGeom>
        <a:solidFill>
          <a:srgbClr val="9954CC">
            <a:alpha val="7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90500" h="190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>
              <a:solidFill>
                <a:srgbClr val="002060"/>
              </a:solidFill>
            </a:rPr>
            <a:t>The year that was…</a:t>
          </a:r>
          <a:endParaRPr lang="en-US" sz="3600" kern="1200" dirty="0">
            <a:solidFill>
              <a:srgbClr val="002060"/>
            </a:solidFill>
          </a:endParaRPr>
        </a:p>
      </dsp:txBody>
      <dsp:txXfrm>
        <a:off x="920114" y="1937003"/>
        <a:ext cx="5147957" cy="850391"/>
      </dsp:txXfrm>
    </dsp:sp>
    <dsp:sp modelId="{F738A0C0-4B28-4BDE-BF8C-811FA3308DDA}">
      <dsp:nvSpPr>
        <dsp:cNvPr id="0" name=""/>
        <dsp:cNvSpPr/>
      </dsp:nvSpPr>
      <dsp:spPr>
        <a:xfrm>
          <a:off x="1380172" y="2905505"/>
          <a:ext cx="6160770" cy="850392"/>
        </a:xfrm>
        <a:prstGeom prst="roundRect">
          <a:avLst>
            <a:gd name="adj" fmla="val 10000"/>
          </a:avLst>
        </a:prstGeom>
        <a:solidFill>
          <a:srgbClr val="00B050">
            <a:alpha val="7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90500" h="190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>
              <a:solidFill>
                <a:srgbClr val="002060"/>
              </a:solidFill>
            </a:rPr>
            <a:t>Performance at a glance…</a:t>
          </a:r>
          <a:endParaRPr lang="en-US" sz="3600" kern="1200" dirty="0">
            <a:solidFill>
              <a:srgbClr val="002060"/>
            </a:solidFill>
          </a:endParaRPr>
        </a:p>
      </dsp:txBody>
      <dsp:txXfrm>
        <a:off x="1380172" y="2905505"/>
        <a:ext cx="5147957" cy="850392"/>
      </dsp:txXfrm>
    </dsp:sp>
    <dsp:sp modelId="{2E574D5F-EFD5-4659-9DE7-57941DD4E67D}">
      <dsp:nvSpPr>
        <dsp:cNvPr id="0" name=""/>
        <dsp:cNvSpPr/>
      </dsp:nvSpPr>
      <dsp:spPr>
        <a:xfrm>
          <a:off x="1840229" y="3874007"/>
          <a:ext cx="6160770" cy="850392"/>
        </a:xfrm>
        <a:prstGeom prst="roundRect">
          <a:avLst>
            <a:gd name="adj" fmla="val 10000"/>
          </a:avLst>
        </a:prstGeom>
        <a:solidFill>
          <a:srgbClr val="FFFF00">
            <a:alpha val="69804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90500" h="190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>
              <a:solidFill>
                <a:srgbClr val="002060"/>
              </a:solidFill>
            </a:rPr>
            <a:t>Open forum…</a:t>
          </a:r>
          <a:endParaRPr lang="en-US" sz="3600" kern="1200" dirty="0">
            <a:solidFill>
              <a:srgbClr val="002060"/>
            </a:solidFill>
          </a:endParaRPr>
        </a:p>
      </dsp:txBody>
      <dsp:txXfrm>
        <a:off x="1840229" y="3874007"/>
        <a:ext cx="5147957" cy="850392"/>
      </dsp:txXfrm>
    </dsp:sp>
    <dsp:sp modelId="{B1D0F367-51A2-4F6C-8806-FF6B34FC37D1}">
      <dsp:nvSpPr>
        <dsp:cNvPr id="0" name=""/>
        <dsp:cNvSpPr/>
      </dsp:nvSpPr>
      <dsp:spPr>
        <a:xfrm>
          <a:off x="5608015" y="621258"/>
          <a:ext cx="552754" cy="552754"/>
        </a:xfrm>
        <a:prstGeom prst="downArrow">
          <a:avLst>
            <a:gd name="adj1" fmla="val 55000"/>
            <a:gd name="adj2" fmla="val 45000"/>
          </a:avLst>
        </a:prstGeom>
        <a:solidFill>
          <a:srgbClr val="002060">
            <a:alpha val="85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90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500" kern="1200"/>
        </a:p>
      </dsp:txBody>
      <dsp:txXfrm>
        <a:off x="5608015" y="621258"/>
        <a:ext cx="552754" cy="552754"/>
      </dsp:txXfrm>
    </dsp:sp>
    <dsp:sp modelId="{4CD43510-D7C1-4692-B3B7-FEE1AF48465F}">
      <dsp:nvSpPr>
        <dsp:cNvPr id="0" name=""/>
        <dsp:cNvSpPr/>
      </dsp:nvSpPr>
      <dsp:spPr>
        <a:xfrm>
          <a:off x="6068072" y="1589760"/>
          <a:ext cx="552754" cy="552754"/>
        </a:xfrm>
        <a:prstGeom prst="downArrow">
          <a:avLst>
            <a:gd name="adj1" fmla="val 55000"/>
            <a:gd name="adj2" fmla="val 45000"/>
          </a:avLst>
        </a:prstGeom>
        <a:solidFill>
          <a:srgbClr val="002060">
            <a:alpha val="85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90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500" kern="1200"/>
        </a:p>
      </dsp:txBody>
      <dsp:txXfrm>
        <a:off x="6068072" y="1589760"/>
        <a:ext cx="552754" cy="552754"/>
      </dsp:txXfrm>
    </dsp:sp>
    <dsp:sp modelId="{4D543D97-0CC3-41DD-91FB-F700CC93E83F}">
      <dsp:nvSpPr>
        <dsp:cNvPr id="0" name=""/>
        <dsp:cNvSpPr/>
      </dsp:nvSpPr>
      <dsp:spPr>
        <a:xfrm>
          <a:off x="6528130" y="2544089"/>
          <a:ext cx="552754" cy="552754"/>
        </a:xfrm>
        <a:prstGeom prst="downArrow">
          <a:avLst>
            <a:gd name="adj1" fmla="val 55000"/>
            <a:gd name="adj2" fmla="val 45000"/>
          </a:avLst>
        </a:prstGeom>
        <a:solidFill>
          <a:srgbClr val="002060">
            <a:alpha val="85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90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500" kern="1200"/>
        </a:p>
      </dsp:txBody>
      <dsp:txXfrm>
        <a:off x="6528130" y="2544089"/>
        <a:ext cx="552754" cy="552754"/>
      </dsp:txXfrm>
    </dsp:sp>
    <dsp:sp modelId="{7C269C61-4D8D-41E1-8CD3-81E421AF9477}">
      <dsp:nvSpPr>
        <dsp:cNvPr id="0" name=""/>
        <dsp:cNvSpPr/>
      </dsp:nvSpPr>
      <dsp:spPr>
        <a:xfrm>
          <a:off x="6988187" y="3522040"/>
          <a:ext cx="552754" cy="552754"/>
        </a:xfrm>
        <a:prstGeom prst="downArrow">
          <a:avLst>
            <a:gd name="adj1" fmla="val 55000"/>
            <a:gd name="adj2" fmla="val 45000"/>
          </a:avLst>
        </a:prstGeom>
        <a:solidFill>
          <a:srgbClr val="002060">
            <a:alpha val="85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w="1905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500" kern="1200"/>
        </a:p>
      </dsp:txBody>
      <dsp:txXfrm>
        <a:off x="6988187" y="3522040"/>
        <a:ext cx="552754" cy="552754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8520EE0-5387-45F7-B812-72ED6AE08E6D}">
      <dsp:nvSpPr>
        <dsp:cNvPr id="0" name=""/>
        <dsp:cNvSpPr/>
      </dsp:nvSpPr>
      <dsp:spPr>
        <a:xfrm>
          <a:off x="0" y="208"/>
          <a:ext cx="5029199" cy="1107021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>
              <a:solidFill>
                <a:srgbClr val="FFFF00"/>
              </a:solidFill>
            </a:rPr>
            <a:t>Nation’s largest refiner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* 65.7 MMTPA capacity 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* 30.5% of domestic refining capacity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b="1" kern="1200" dirty="0"/>
        </a:p>
      </dsp:txBody>
      <dsp:txXfrm>
        <a:off x="0" y="208"/>
        <a:ext cx="5029199" cy="1107021"/>
      </dsp:txXfrm>
    </dsp:sp>
    <dsp:sp modelId="{5B73CDDB-9A07-4436-BD2F-E7A4DC56341F}">
      <dsp:nvSpPr>
        <dsp:cNvPr id="0" name=""/>
        <dsp:cNvSpPr/>
      </dsp:nvSpPr>
      <dsp:spPr>
        <a:xfrm>
          <a:off x="0" y="1117551"/>
          <a:ext cx="5029199" cy="1107021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>
              <a:solidFill>
                <a:srgbClr val="FFFF00"/>
              </a:solidFill>
            </a:rPr>
            <a:t>Country-wide network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* Over 11,000 KM crude oil, products &amp; natural gas pipelines </a:t>
          </a:r>
          <a:endParaRPr lang="en-US" sz="2000" b="1" kern="1200" dirty="0"/>
        </a:p>
      </dsp:txBody>
      <dsp:txXfrm>
        <a:off x="0" y="1117551"/>
        <a:ext cx="5029199" cy="1107021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873196A-7731-47D5-94FA-CF1E19CF0C57}">
      <dsp:nvSpPr>
        <dsp:cNvPr id="0" name=""/>
        <dsp:cNvSpPr/>
      </dsp:nvSpPr>
      <dsp:spPr>
        <a:xfrm>
          <a:off x="0" y="713"/>
          <a:ext cx="5105399" cy="1250666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>
              <a:solidFill>
                <a:srgbClr val="FFFF00"/>
              </a:solidFill>
            </a:rPr>
            <a:t>Domestic market leader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* 48.2 % market share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* Over 39,400 touch-points</a:t>
          </a:r>
          <a:endParaRPr lang="en-US" sz="2000" b="1" kern="1200" dirty="0"/>
        </a:p>
      </dsp:txBody>
      <dsp:txXfrm>
        <a:off x="0" y="713"/>
        <a:ext cx="5105399" cy="1250666"/>
      </dsp:txXfrm>
    </dsp:sp>
    <dsp:sp modelId="{05A7D7E3-7E21-40A5-98A0-74712A355D9C}">
      <dsp:nvSpPr>
        <dsp:cNvPr id="0" name=""/>
        <dsp:cNvSpPr/>
      </dsp:nvSpPr>
      <dsp:spPr>
        <a:xfrm>
          <a:off x="0" y="1263220"/>
          <a:ext cx="5105399" cy="1250666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>
              <a:solidFill>
                <a:srgbClr val="FFFF00"/>
              </a:solidFill>
            </a:rPr>
            <a:t>R&amp;D – among the best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* Pioneer in lube &amp; refining technologies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900" b="1" kern="1200" dirty="0" smtClean="0">
              <a:solidFill>
                <a:schemeClr val="bg1"/>
              </a:solidFill>
            </a:rPr>
            <a:t>* New focus on Alternate and Renewable energy</a:t>
          </a:r>
          <a:endParaRPr lang="en-US" sz="1900" b="1" kern="1200" dirty="0">
            <a:solidFill>
              <a:schemeClr val="bg1"/>
            </a:solidFill>
          </a:endParaRPr>
        </a:p>
      </dsp:txBody>
      <dsp:txXfrm>
        <a:off x="0" y="1263220"/>
        <a:ext cx="5105399" cy="1250666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1306A99-B153-467D-8F8E-321C8DD8D1A1}">
      <dsp:nvSpPr>
        <dsp:cNvPr id="0" name=""/>
        <dsp:cNvSpPr/>
      </dsp:nvSpPr>
      <dsp:spPr>
        <a:xfrm>
          <a:off x="0" y="1636"/>
          <a:ext cx="5306290" cy="115976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>
              <a:solidFill>
                <a:srgbClr val="FFFF00"/>
              </a:solidFill>
            </a:rPr>
            <a:t>Exploration &amp; Production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* First-ever revenue from equity oil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* Discovery in three wells</a:t>
          </a:r>
          <a:endParaRPr lang="en-US" sz="2000" b="1" kern="1200" dirty="0"/>
        </a:p>
      </dsp:txBody>
      <dsp:txXfrm>
        <a:off x="0" y="1636"/>
        <a:ext cx="5306290" cy="1159762"/>
      </dsp:txXfrm>
    </dsp:sp>
    <dsp:sp modelId="{440655DF-CB7C-4D2A-B8E1-A7FB018D9807}">
      <dsp:nvSpPr>
        <dsp:cNvPr id="0" name=""/>
        <dsp:cNvSpPr/>
      </dsp:nvSpPr>
      <dsp:spPr>
        <a:xfrm>
          <a:off x="0" y="1174501"/>
          <a:ext cx="5306290" cy="11597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FFFF00"/>
              </a:solidFill>
            </a:rPr>
            <a:t>Sustainable development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* 25 MW wind capacity added since last year</a:t>
          </a:r>
        </a:p>
      </dsp:txBody>
      <dsp:txXfrm>
        <a:off x="0" y="1174501"/>
        <a:ext cx="5306290" cy="1159762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0A5378D-3D23-4A8D-98AE-46B7C2BE2887}">
      <dsp:nvSpPr>
        <dsp:cNvPr id="0" name=""/>
        <dsp:cNvSpPr/>
      </dsp:nvSpPr>
      <dsp:spPr>
        <a:xfrm>
          <a:off x="0" y="1434"/>
          <a:ext cx="5181600" cy="115976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>
              <a:solidFill>
                <a:srgbClr val="FFFF00"/>
              </a:solidFill>
            </a:rPr>
            <a:t>Petrochemicals – moving ahead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>
              <a:solidFill>
                <a:schemeClr val="bg1"/>
              </a:solidFill>
            </a:rPr>
            <a:t>* 2</a:t>
          </a:r>
          <a:r>
            <a:rPr lang="en-US" sz="2000" b="1" kern="1200" baseline="30000" dirty="0" smtClean="0">
              <a:solidFill>
                <a:schemeClr val="bg1"/>
              </a:solidFill>
            </a:rPr>
            <a:t>nd</a:t>
          </a:r>
          <a:r>
            <a:rPr lang="en-US" sz="2000" b="1" kern="1200" dirty="0" smtClean="0">
              <a:solidFill>
                <a:schemeClr val="bg1"/>
              </a:solidFill>
            </a:rPr>
            <a:t> largest domestic player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>
              <a:solidFill>
                <a:schemeClr val="bg1"/>
              </a:solidFill>
            </a:rPr>
            <a:t>* 2.25 MMTPA capacity </a:t>
          </a:r>
          <a:endParaRPr lang="en-US" sz="2000" b="1" kern="1200" dirty="0">
            <a:solidFill>
              <a:schemeClr val="bg1"/>
            </a:solidFill>
          </a:endParaRPr>
        </a:p>
      </dsp:txBody>
      <dsp:txXfrm>
        <a:off x="0" y="1434"/>
        <a:ext cx="5181600" cy="1159762"/>
      </dsp:txXfrm>
    </dsp:sp>
    <dsp:sp modelId="{9B82B463-FC1E-4346-B3CA-945C4BA78877}">
      <dsp:nvSpPr>
        <dsp:cNvPr id="0" name=""/>
        <dsp:cNvSpPr/>
      </dsp:nvSpPr>
      <dsp:spPr>
        <a:xfrm>
          <a:off x="0" y="1174501"/>
          <a:ext cx="5181600" cy="1159762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>
              <a:solidFill>
                <a:srgbClr val="FFFF00"/>
              </a:solidFill>
            </a:rPr>
            <a:t>Natural gas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* 8.2% domestic market share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* Aggressive infrastructure plans</a:t>
          </a:r>
          <a:endParaRPr lang="en-US" sz="2000" b="1" kern="1200" dirty="0"/>
        </a:p>
      </dsp:txBody>
      <dsp:txXfrm>
        <a:off x="0" y="1174501"/>
        <a:ext cx="5181600" cy="1159762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33DA53E-B3A3-477B-8662-1BF4DF909BD1}">
      <dsp:nvSpPr>
        <dsp:cNvPr id="0" name=""/>
        <dsp:cNvSpPr/>
      </dsp:nvSpPr>
      <dsp:spPr>
        <a:xfrm>
          <a:off x="0" y="5818"/>
          <a:ext cx="4648200" cy="703543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Highest-ever turnover of Rs. 4,14,909 </a:t>
          </a:r>
          <a:r>
            <a:rPr lang="en-US" sz="2000" b="1" kern="1200" dirty="0" err="1" smtClean="0"/>
            <a:t>crore</a:t>
          </a:r>
          <a:r>
            <a:rPr lang="en-US" sz="2000" b="1" kern="1200" dirty="0" smtClean="0"/>
            <a:t> - a rise of 11% from 2011-12</a:t>
          </a:r>
          <a:endParaRPr lang="en-US" sz="2000" b="1" kern="1200" dirty="0"/>
        </a:p>
      </dsp:txBody>
      <dsp:txXfrm>
        <a:off x="0" y="5818"/>
        <a:ext cx="4648200" cy="703543"/>
      </dsp:txXfrm>
    </dsp:sp>
    <dsp:sp modelId="{B8520EE0-5387-45F7-B812-72ED6AE08E6D}">
      <dsp:nvSpPr>
        <dsp:cNvPr id="0" name=""/>
        <dsp:cNvSpPr/>
      </dsp:nvSpPr>
      <dsp:spPr>
        <a:xfrm>
          <a:off x="0" y="755442"/>
          <a:ext cx="4648200" cy="861120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Over 100% refining capacity utilization, 6</a:t>
          </a:r>
          <a:r>
            <a:rPr lang="en-US" sz="2000" b="1" kern="1200" baseline="30000" dirty="0" smtClean="0"/>
            <a:t>th</a:t>
          </a:r>
          <a:r>
            <a:rPr lang="en-US" sz="2000" b="1" kern="1200" dirty="0" smtClean="0"/>
            <a:t> year in a row </a:t>
          </a:r>
          <a:endParaRPr lang="en-US" sz="2000" b="1" kern="1200" dirty="0"/>
        </a:p>
      </dsp:txBody>
      <dsp:txXfrm>
        <a:off x="0" y="755442"/>
        <a:ext cx="4648200" cy="861120"/>
      </dsp:txXfrm>
    </dsp:sp>
    <dsp:sp modelId="{40D5E7FB-D38D-486C-BA1F-4A19EE41BB18}">
      <dsp:nvSpPr>
        <dsp:cNvPr id="0" name=""/>
        <dsp:cNvSpPr/>
      </dsp:nvSpPr>
      <dsp:spPr>
        <a:xfrm>
          <a:off x="0" y="1668460"/>
          <a:ext cx="4648200" cy="8611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Bringing energy to rural India –</a:t>
          </a:r>
          <a:r>
            <a:rPr lang="en-US" sz="2000" b="1" kern="1200" dirty="0" err="1" smtClean="0"/>
            <a:t>Kisan</a:t>
          </a:r>
          <a:r>
            <a:rPr lang="en-US" sz="2000" b="1" kern="1200" dirty="0" smtClean="0"/>
            <a:t> </a:t>
          </a:r>
          <a:r>
            <a:rPr lang="en-US" sz="2000" b="1" kern="1200" dirty="0" err="1" smtClean="0"/>
            <a:t>Sewa</a:t>
          </a:r>
          <a:r>
            <a:rPr lang="en-US" sz="2000" b="1" kern="1200" dirty="0" smtClean="0"/>
            <a:t> </a:t>
          </a:r>
          <a:r>
            <a:rPr lang="en-US" sz="2000" b="1" kern="1200" dirty="0" err="1" smtClean="0"/>
            <a:t>Kendras</a:t>
          </a:r>
          <a:r>
            <a:rPr lang="en-US" sz="2000" b="1" kern="1200" dirty="0" smtClean="0"/>
            <a:t> ~ 24% of total RO network</a:t>
          </a:r>
          <a:endParaRPr lang="en-US" sz="2000" kern="1200" dirty="0"/>
        </a:p>
      </dsp:txBody>
      <dsp:txXfrm>
        <a:off x="0" y="1668460"/>
        <a:ext cx="4648200" cy="86112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33DA53E-B3A3-477B-8662-1BF4DF909BD1}">
      <dsp:nvSpPr>
        <dsp:cNvPr id="0" name=""/>
        <dsp:cNvSpPr/>
      </dsp:nvSpPr>
      <dsp:spPr>
        <a:xfrm>
          <a:off x="0" y="61199"/>
          <a:ext cx="4648200" cy="1216800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49% of the domestic LPG customer base.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Record 69 </a:t>
          </a:r>
          <a:r>
            <a:rPr lang="en-US" sz="2000" b="1" kern="1200" dirty="0" err="1" smtClean="0"/>
            <a:t>lakh</a:t>
          </a:r>
          <a:r>
            <a:rPr lang="en-US" sz="2000" b="1" kern="1200" dirty="0" smtClean="0"/>
            <a:t> new LPG connections in 2012-13</a:t>
          </a:r>
          <a:endParaRPr lang="en-US" sz="2000" b="1" kern="1200" dirty="0"/>
        </a:p>
      </dsp:txBody>
      <dsp:txXfrm>
        <a:off x="0" y="61199"/>
        <a:ext cx="4648200" cy="1216800"/>
      </dsp:txXfrm>
    </dsp:sp>
    <dsp:sp modelId="{B8520EE0-5387-45F7-B812-72ED6AE08E6D}">
      <dsp:nvSpPr>
        <dsp:cNvPr id="0" name=""/>
        <dsp:cNvSpPr/>
      </dsp:nvSpPr>
      <dsp:spPr>
        <a:xfrm>
          <a:off x="0" y="1465200"/>
          <a:ext cx="4648200" cy="1216800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smtClean="0"/>
            <a:t>Commissioned Integrated Crude oil Handling Facilities at </a:t>
          </a:r>
          <a:r>
            <a:rPr lang="en-US" sz="2000" b="1" kern="1200" dirty="0" err="1" smtClean="0"/>
            <a:t>Paradip</a:t>
          </a:r>
          <a:endParaRPr lang="en-US" sz="2000" b="1" kern="1200" dirty="0"/>
        </a:p>
      </dsp:txBody>
      <dsp:txXfrm>
        <a:off x="0" y="1465200"/>
        <a:ext cx="4648200" cy="121680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2104FB5-D460-488C-99E7-972626876BF9}">
      <dsp:nvSpPr>
        <dsp:cNvPr id="0" name=""/>
        <dsp:cNvSpPr/>
      </dsp:nvSpPr>
      <dsp:spPr>
        <a:xfrm>
          <a:off x="1469314" y="465"/>
          <a:ext cx="3331279" cy="1813842"/>
        </a:xfrm>
        <a:prstGeom prst="rightArrow">
          <a:avLst>
            <a:gd name="adj1" fmla="val 75000"/>
            <a:gd name="adj2" fmla="val 50000"/>
          </a:avLst>
        </a:prstGeom>
        <a:solidFill>
          <a:schemeClr val="accent6">
            <a:lumMod val="20000"/>
            <a:lumOff val="80000"/>
            <a:alpha val="89804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1" kern="1200" dirty="0" smtClean="0">
              <a:solidFill>
                <a:schemeClr val="tx1"/>
              </a:solidFill>
              <a:latin typeface="+mj-lt"/>
            </a:rPr>
            <a:t>Aviation, terminaling &amp; retail</a:t>
          </a:r>
          <a:endParaRPr lang="en-US" sz="1600" b="1" kern="1200" dirty="0">
            <a:solidFill>
              <a:schemeClr val="tx1"/>
            </a:solidFill>
            <a:latin typeface="+mj-lt"/>
          </a:endParaRPr>
        </a:p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1" kern="1200" dirty="0" smtClean="0">
              <a:solidFill>
                <a:schemeClr val="tx1"/>
              </a:solidFill>
              <a:latin typeface="+mj-lt"/>
            </a:rPr>
            <a:t>24,000 MT storage terminal</a:t>
          </a:r>
          <a:endParaRPr lang="en-US" sz="1600" b="1" kern="1200" dirty="0">
            <a:solidFill>
              <a:schemeClr val="tx1"/>
            </a:solidFill>
            <a:latin typeface="+mj-lt"/>
          </a:endParaRPr>
        </a:p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1" kern="1200" dirty="0" smtClean="0">
              <a:solidFill>
                <a:schemeClr val="tx1"/>
              </a:solidFill>
              <a:latin typeface="+mj-lt"/>
            </a:rPr>
            <a:t>18 retail outlets</a:t>
          </a:r>
          <a:endParaRPr lang="en-US" sz="1600" b="1" kern="1200" dirty="0">
            <a:solidFill>
              <a:schemeClr val="tx1"/>
            </a:solidFill>
            <a:latin typeface="+mj-lt"/>
          </a:endParaRPr>
        </a:p>
      </dsp:txBody>
      <dsp:txXfrm>
        <a:off x="1469314" y="465"/>
        <a:ext cx="3331279" cy="1813842"/>
      </dsp:txXfrm>
    </dsp:sp>
    <dsp:sp modelId="{97C03403-6B35-4F12-A7B2-09B12FD11639}">
      <dsp:nvSpPr>
        <dsp:cNvPr id="0" name=""/>
        <dsp:cNvSpPr/>
      </dsp:nvSpPr>
      <dsp:spPr>
        <a:xfrm>
          <a:off x="4" y="465"/>
          <a:ext cx="1469309" cy="1813842"/>
        </a:xfrm>
        <a:prstGeom prst="roundRect">
          <a:avLst/>
        </a:prstGeom>
        <a:solidFill>
          <a:schemeClr val="accent6">
            <a:lumMod val="60000"/>
            <a:lumOff val="4000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2">
                  <a:lumMod val="50000"/>
                </a:schemeClr>
              </a:solidFill>
              <a:latin typeface="Calibri" pitchFamily="34" charset="0"/>
            </a:rPr>
            <a:t>IndianOil Mauritius Ltd. </a:t>
          </a:r>
        </a:p>
      </dsp:txBody>
      <dsp:txXfrm>
        <a:off x="4" y="465"/>
        <a:ext cx="1469309" cy="1813842"/>
      </dsp:txXfrm>
    </dsp:sp>
    <dsp:sp modelId="{7E4B34EA-9194-4C56-893D-F51B1ED3A142}">
      <dsp:nvSpPr>
        <dsp:cNvPr id="0" name=""/>
        <dsp:cNvSpPr/>
      </dsp:nvSpPr>
      <dsp:spPr>
        <a:xfrm>
          <a:off x="1469314" y="1995692"/>
          <a:ext cx="3331279" cy="1813842"/>
        </a:xfrm>
        <a:prstGeom prst="rightArrow">
          <a:avLst>
            <a:gd name="adj1" fmla="val 75000"/>
            <a:gd name="adj2" fmla="val 50000"/>
          </a:avLst>
        </a:prstGeom>
        <a:solidFill>
          <a:schemeClr val="bg1">
            <a:lumMod val="95000"/>
            <a:alpha val="89804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1" kern="1200" dirty="0" smtClean="0">
              <a:latin typeface="+mj-lt"/>
            </a:rPr>
            <a:t>Storage, terminaling &amp; retail</a:t>
          </a:r>
        </a:p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1" kern="1200" dirty="0" smtClean="0">
              <a:latin typeface="+mj-lt"/>
            </a:rPr>
            <a:t>157 retail outlets</a:t>
          </a:r>
        </a:p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1" kern="1200" dirty="0" smtClean="0">
              <a:latin typeface="+mj-lt"/>
            </a:rPr>
            <a:t>Bunkering, lube blending &amp; marketing, bitumen</a:t>
          </a:r>
        </a:p>
      </dsp:txBody>
      <dsp:txXfrm>
        <a:off x="1469314" y="1995692"/>
        <a:ext cx="3331279" cy="1813842"/>
      </dsp:txXfrm>
    </dsp:sp>
    <dsp:sp modelId="{E8FE98F5-1686-4FC2-9C7A-F173B91FFD63}">
      <dsp:nvSpPr>
        <dsp:cNvPr id="0" name=""/>
        <dsp:cNvSpPr/>
      </dsp:nvSpPr>
      <dsp:spPr>
        <a:xfrm>
          <a:off x="4" y="1995692"/>
          <a:ext cx="1469309" cy="1813842"/>
        </a:xfrm>
        <a:prstGeom prst="roundRect">
          <a:avLst/>
        </a:prstGeom>
        <a:solidFill>
          <a:schemeClr val="bg1">
            <a:lumMod val="6500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002060"/>
              </a:solidFill>
              <a:latin typeface="Calibri" pitchFamily="34" charset="0"/>
            </a:rPr>
            <a:t>Lanka IOC Ltd.</a:t>
          </a:r>
        </a:p>
      </dsp:txBody>
      <dsp:txXfrm>
        <a:off x="4" y="1995692"/>
        <a:ext cx="1469309" cy="18138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3958</cdr:x>
      <cdr:y>0.9375</cdr:y>
    </cdr:from>
    <cdr:to>
      <cdr:x>0.7875</cdr:x>
      <cdr:y>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80975" y="2571750"/>
          <a:ext cx="3419475" cy="1714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21558</cdr:x>
      <cdr:y>0.18498</cdr:y>
    </cdr:from>
    <cdr:to>
      <cdr:x>0.31487</cdr:x>
      <cdr:y>0.31395</cdr:y>
    </cdr:to>
    <cdr:sp macro="" textlink="">
      <cdr:nvSpPr>
        <cdr:cNvPr id="5" name="Right Arrow 4"/>
        <cdr:cNvSpPr/>
      </cdr:nvSpPr>
      <cdr:spPr>
        <a:xfrm xmlns:a="http://schemas.openxmlformats.org/drawingml/2006/main" rot="20420538">
          <a:off x="1905539" y="873916"/>
          <a:ext cx="877651" cy="609311"/>
        </a:xfrm>
        <a:prstGeom xmlns:a="http://schemas.openxmlformats.org/drawingml/2006/main" prst="rightArrow">
          <a:avLst/>
        </a:prstGeom>
        <a:solidFill xmlns:a="http://schemas.openxmlformats.org/drawingml/2006/main">
          <a:srgbClr val="FB9705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>
          <a:outerShdw blurRad="44450" dist="27940" dir="5400000" algn="ctr">
            <a:srgbClr val="000000">
              <a:alpha val="32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balanced" dir="t">
            <a:rot lat="0" lon="0" rev="8700000"/>
          </a:lightRig>
        </a:scene3d>
        <a:sp3d xmlns:a="http://schemas.openxmlformats.org/drawingml/2006/main">
          <a:bevelT w="190500" h="381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wrap="square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en-US" sz="1800" b="1" dirty="0">
              <a:solidFill>
                <a:sysClr val="windowText" lastClr="000000"/>
              </a:solidFill>
            </a:rPr>
            <a:t>5.0%</a:t>
          </a:r>
        </a:p>
      </cdr:txBody>
    </cdr:sp>
  </cdr:relSizeAnchor>
  <cdr:relSizeAnchor xmlns:cdr="http://schemas.openxmlformats.org/drawingml/2006/chartDrawing">
    <cdr:from>
      <cdr:x>0.48587</cdr:x>
      <cdr:y>0.16363</cdr:y>
    </cdr:from>
    <cdr:to>
      <cdr:x>0.58957</cdr:x>
      <cdr:y>0.29222</cdr:y>
    </cdr:to>
    <cdr:sp macro="" textlink="">
      <cdr:nvSpPr>
        <cdr:cNvPr id="6" name="Right Arrow 5"/>
        <cdr:cNvSpPr/>
      </cdr:nvSpPr>
      <cdr:spPr>
        <a:xfrm xmlns:a="http://schemas.openxmlformats.org/drawingml/2006/main" rot="20323627">
          <a:off x="4294661" y="773076"/>
          <a:ext cx="916666" cy="607511"/>
        </a:xfrm>
        <a:prstGeom xmlns:a="http://schemas.openxmlformats.org/drawingml/2006/main" prst="rightArrow">
          <a:avLst/>
        </a:prstGeom>
        <a:solidFill xmlns:a="http://schemas.openxmlformats.org/drawingml/2006/main">
          <a:srgbClr val="FB9705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>
          <a:outerShdw blurRad="44450" dist="27940" dir="5400000" algn="ctr">
            <a:srgbClr val="000000">
              <a:alpha val="32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balanced" dir="t">
            <a:rot lat="0" lon="0" rev="8700000"/>
          </a:lightRig>
        </a:scene3d>
        <a:sp3d xmlns:a="http://schemas.openxmlformats.org/drawingml/2006/main">
          <a:bevelT w="190500" h="381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wrap="square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marL="0" indent="0" algn="ctr"/>
          <a:r>
            <a:rPr lang="en-US" sz="1800" b="1" dirty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1.5%</a:t>
          </a:r>
        </a:p>
      </cdr:txBody>
    </cdr:sp>
  </cdr:relSizeAnchor>
  <cdr:relSizeAnchor xmlns:cdr="http://schemas.openxmlformats.org/drawingml/2006/chartDrawing">
    <cdr:from>
      <cdr:x>0.36207</cdr:x>
      <cdr:y>0.14516</cdr:y>
    </cdr:from>
    <cdr:to>
      <cdr:x>0.44779</cdr:x>
      <cdr:y>0.19355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3200400" y="685800"/>
          <a:ext cx="757696" cy="2286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en-US" sz="2000" b="1" dirty="0"/>
            <a:t>70.1</a:t>
          </a:r>
        </a:p>
      </cdr:txBody>
    </cdr:sp>
  </cdr:relSizeAnchor>
  <cdr:relSizeAnchor xmlns:cdr="http://schemas.openxmlformats.org/drawingml/2006/chartDrawing">
    <cdr:from>
      <cdr:x>0.08621</cdr:x>
      <cdr:y>0.17742</cdr:y>
    </cdr:from>
    <cdr:to>
      <cdr:x>0.18145</cdr:x>
      <cdr:y>0.2258</cdr:y>
    </cdr:to>
    <cdr:sp macro="" textlink="">
      <cdr:nvSpPr>
        <cdr:cNvPr id="17" name="TextBox 1"/>
        <cdr:cNvSpPr txBox="1"/>
      </cdr:nvSpPr>
      <cdr:spPr>
        <a:xfrm xmlns:a="http://schemas.openxmlformats.org/drawingml/2006/main">
          <a:off x="762000" y="838200"/>
          <a:ext cx="841846" cy="2285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n-US" sz="2000" b="1" dirty="0"/>
            <a:t>66.7</a:t>
          </a:r>
        </a:p>
      </cdr:txBody>
    </cdr:sp>
  </cdr:relSizeAnchor>
  <cdr:relSizeAnchor xmlns:cdr="http://schemas.openxmlformats.org/drawingml/2006/chartDrawing">
    <cdr:from>
      <cdr:x>0.61207</cdr:x>
      <cdr:y>0.12903</cdr:y>
    </cdr:from>
    <cdr:to>
      <cdr:x>0.70731</cdr:x>
      <cdr:y>0.17742</cdr:y>
    </cdr:to>
    <cdr:sp macro="" textlink="">
      <cdr:nvSpPr>
        <cdr:cNvPr id="18" name="TextBox 1"/>
        <cdr:cNvSpPr txBox="1"/>
      </cdr:nvSpPr>
      <cdr:spPr>
        <a:xfrm xmlns:a="http://schemas.openxmlformats.org/drawingml/2006/main">
          <a:off x="5410200" y="609600"/>
          <a:ext cx="841846" cy="2286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n-US" sz="2000" b="1" dirty="0"/>
            <a:t>71.2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4902</cdr:x>
      <cdr:y>0.03922</cdr:y>
    </cdr:from>
    <cdr:to>
      <cdr:x>0.63725</cdr:x>
      <cdr:y>0.15686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448239" y="176325"/>
          <a:ext cx="5378775" cy="528886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r>
            <a:rPr lang="en-US" sz="2400" b="1" dirty="0" smtClean="0"/>
            <a:t>Domestic Petrochemicals sales, KT</a:t>
          </a:r>
          <a:endParaRPr lang="en-US" sz="2400" b="1" dirty="0"/>
        </a:p>
      </cdr:txBody>
    </cdr:sp>
  </cdr:relSizeAnchor>
  <cdr:relSizeAnchor xmlns:cdr="http://schemas.openxmlformats.org/drawingml/2006/chartDrawing">
    <cdr:from>
      <cdr:x>0.09167</cdr:x>
      <cdr:y>0.42373</cdr:y>
    </cdr:from>
    <cdr:to>
      <cdr:x>0.20001</cdr:x>
      <cdr:y>0.49153</cdr:y>
    </cdr:to>
    <cdr:sp macro="" textlink="">
      <cdr:nvSpPr>
        <cdr:cNvPr id="3" name="Rectangle 2"/>
        <cdr:cNvSpPr/>
      </cdr:nvSpPr>
      <cdr:spPr>
        <a:xfrm xmlns:a="http://schemas.openxmlformats.org/drawingml/2006/main">
          <a:off x="838200" y="1905000"/>
          <a:ext cx="990660" cy="30481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pPr algn="ctr"/>
          <a:r>
            <a:rPr lang="en-US" sz="2000" b="1" dirty="0" smtClean="0"/>
            <a:t>909</a:t>
          </a:r>
          <a:endParaRPr lang="en-US" sz="2000" b="1" dirty="0"/>
        </a:p>
      </cdr:txBody>
    </cdr:sp>
  </cdr:relSizeAnchor>
  <cdr:relSizeAnchor xmlns:cdr="http://schemas.openxmlformats.org/drawingml/2006/chartDrawing">
    <cdr:from>
      <cdr:x>0.34167</cdr:x>
      <cdr:y>0.20339</cdr:y>
    </cdr:from>
    <cdr:to>
      <cdr:x>0.475</cdr:x>
      <cdr:y>0.28814</cdr:y>
    </cdr:to>
    <cdr:sp macro="" textlink="">
      <cdr:nvSpPr>
        <cdr:cNvPr id="4" name="Rectangle 3"/>
        <cdr:cNvSpPr/>
      </cdr:nvSpPr>
      <cdr:spPr>
        <a:xfrm xmlns:a="http://schemas.openxmlformats.org/drawingml/2006/main">
          <a:off x="3124200" y="914400"/>
          <a:ext cx="1219170" cy="3810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pPr algn="ctr"/>
          <a:r>
            <a:rPr lang="en-US" sz="2000" b="1" dirty="0"/>
            <a:t>1480</a:t>
          </a:r>
        </a:p>
      </cdr:txBody>
    </cdr:sp>
  </cdr:relSizeAnchor>
  <cdr:relSizeAnchor xmlns:cdr="http://schemas.openxmlformats.org/drawingml/2006/chartDrawing">
    <cdr:from>
      <cdr:x>0.625</cdr:x>
      <cdr:y>0.08475</cdr:y>
    </cdr:from>
    <cdr:to>
      <cdr:x>0.75833</cdr:x>
      <cdr:y>0.16949</cdr:y>
    </cdr:to>
    <cdr:sp macro="" textlink="">
      <cdr:nvSpPr>
        <cdr:cNvPr id="5" name="Rectangle 4"/>
        <cdr:cNvSpPr/>
      </cdr:nvSpPr>
      <cdr:spPr>
        <a:xfrm xmlns:a="http://schemas.openxmlformats.org/drawingml/2006/main">
          <a:off x="5715000" y="381000"/>
          <a:ext cx="1219170" cy="3810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pPr algn="ctr"/>
          <a:r>
            <a:rPr lang="en-US" sz="1800" b="1" dirty="0"/>
            <a:t>1824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8519</cdr:x>
      <cdr:y>0.13846</cdr:y>
    </cdr:from>
    <cdr:to>
      <cdr:x>0.34519</cdr:x>
      <cdr:y>0.2040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762000" y="685800"/>
          <a:ext cx="658368" cy="3247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 anchor="ctr"/>
        <a:lstStyle xmlns:a="http://schemas.openxmlformats.org/drawingml/2006/main"/>
        <a:p xmlns:a="http://schemas.openxmlformats.org/drawingml/2006/main">
          <a:pPr algn="ctr"/>
          <a:r>
            <a:rPr lang="en-IN" sz="1700" b="1" dirty="0" smtClean="0"/>
            <a:t>373926</a:t>
          </a:r>
          <a:endParaRPr lang="en-IN" sz="1700" b="1" dirty="0"/>
        </a:p>
      </cdr:txBody>
    </cdr:sp>
  </cdr:relSizeAnchor>
  <cdr:relSizeAnchor xmlns:cdr="http://schemas.openxmlformats.org/drawingml/2006/chartDrawing">
    <cdr:from>
      <cdr:x>0.64815</cdr:x>
      <cdr:y>0.06154</cdr:y>
    </cdr:from>
    <cdr:to>
      <cdr:x>0.80815</cdr:x>
      <cdr:y>0.12711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667000" y="304800"/>
          <a:ext cx="658368" cy="3247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n-IN" sz="1800" b="1" dirty="0" smtClean="0"/>
            <a:t>414909</a:t>
          </a:r>
          <a:endParaRPr lang="en-IN" sz="1800" b="1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75833</cdr:x>
      <cdr:y>0.02909</cdr:y>
    </cdr:from>
    <cdr:to>
      <cdr:x>0.89501</cdr:x>
      <cdr:y>0.1218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934200" y="152400"/>
          <a:ext cx="1249802" cy="4858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800" b="1" dirty="0" err="1" smtClean="0">
              <a:latin typeface="Calibri" pitchFamily="34" charset="0"/>
              <a:cs typeface="Calibri" pitchFamily="34" charset="0"/>
            </a:rPr>
            <a:t>Rs</a:t>
          </a:r>
          <a:r>
            <a:rPr lang="en-US" sz="1800" b="1" dirty="0" smtClean="0">
              <a:latin typeface="Calibri" pitchFamily="34" charset="0"/>
              <a:cs typeface="Calibri" pitchFamily="34" charset="0"/>
            </a:rPr>
            <a:t>. </a:t>
          </a:r>
          <a:r>
            <a:rPr lang="en-US" sz="1800" b="1" dirty="0" err="1" smtClean="0">
              <a:latin typeface="Calibri" pitchFamily="34" charset="0"/>
              <a:cs typeface="Calibri" pitchFamily="34" charset="0"/>
            </a:rPr>
            <a:t>crore</a:t>
          </a:r>
          <a:endParaRPr lang="en-US" sz="1800" b="1" dirty="0">
            <a:latin typeface="Calibri" pitchFamily="34" charset="0"/>
            <a:cs typeface="Calibri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3667</cdr:x>
      <cdr:y>0.03092</cdr:y>
    </cdr:from>
    <cdr:to>
      <cdr:x>0.27335</cdr:x>
      <cdr:y>0.1236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152128" y="144016"/>
          <a:ext cx="1152128" cy="4320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800" b="1" dirty="0" err="1" smtClean="0">
              <a:latin typeface="Calibri" pitchFamily="34" charset="0"/>
              <a:cs typeface="Calibri" pitchFamily="34" charset="0"/>
            </a:rPr>
            <a:t>Rs</a:t>
          </a:r>
          <a:r>
            <a:rPr lang="en-US" sz="1800" b="1" dirty="0" smtClean="0">
              <a:latin typeface="Calibri" pitchFamily="34" charset="0"/>
              <a:cs typeface="Calibri" pitchFamily="34" charset="0"/>
            </a:rPr>
            <a:t>. </a:t>
          </a:r>
          <a:r>
            <a:rPr lang="en-US" sz="1800" b="1" dirty="0" err="1" smtClean="0">
              <a:latin typeface="Calibri" pitchFamily="34" charset="0"/>
              <a:cs typeface="Calibri" pitchFamily="34" charset="0"/>
            </a:rPr>
            <a:t>crore</a:t>
          </a:r>
          <a:endParaRPr lang="en-US" sz="1800" b="1" dirty="0">
            <a:latin typeface="Calibri" pitchFamily="34" charset="0"/>
            <a:cs typeface="Calibri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0"/>
            <a:ext cx="3038475" cy="465138"/>
          </a:xfrm>
          <a:prstGeom prst="rect">
            <a:avLst/>
          </a:prstGeom>
        </p:spPr>
        <p:txBody>
          <a:bodyPr vert="horz" lIns="92565" tIns="46285" rIns="92565" bIns="4628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44" y="0"/>
            <a:ext cx="3038475" cy="465138"/>
          </a:xfrm>
          <a:prstGeom prst="rect">
            <a:avLst/>
          </a:prstGeom>
        </p:spPr>
        <p:txBody>
          <a:bodyPr vert="horz" lIns="92565" tIns="46285" rIns="92565" bIns="46285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A67D1832-6E35-4C30-BB09-E33EADCB3BFC}" type="datetimeFigureOut">
              <a:rPr lang="en-US"/>
              <a:pPr>
                <a:defRPr/>
              </a:pPr>
              <a:t>5/31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" y="8829675"/>
            <a:ext cx="3038475" cy="465138"/>
          </a:xfrm>
          <a:prstGeom prst="rect">
            <a:avLst/>
          </a:prstGeom>
        </p:spPr>
        <p:txBody>
          <a:bodyPr vert="horz" lIns="92565" tIns="46285" rIns="92565" bIns="4628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44" y="8829675"/>
            <a:ext cx="3038475" cy="465138"/>
          </a:xfrm>
          <a:prstGeom prst="rect">
            <a:avLst/>
          </a:prstGeom>
        </p:spPr>
        <p:txBody>
          <a:bodyPr vert="horz" wrap="square" lIns="92565" tIns="46285" rIns="92565" bIns="4628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4AC1524C-DF32-4E8E-80C3-71407D3DC67D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0"/>
            <a:ext cx="3038475" cy="465138"/>
          </a:xfrm>
          <a:prstGeom prst="rect">
            <a:avLst/>
          </a:prstGeom>
        </p:spPr>
        <p:txBody>
          <a:bodyPr vert="horz" lIns="92565" tIns="46285" rIns="92565" bIns="4628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44" y="0"/>
            <a:ext cx="3038475" cy="465138"/>
          </a:xfrm>
          <a:prstGeom prst="rect">
            <a:avLst/>
          </a:prstGeom>
        </p:spPr>
        <p:txBody>
          <a:bodyPr vert="horz" lIns="92565" tIns="46285" rIns="92565" bIns="46285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4C624E7-51B4-4201-AB7A-5B4E25968C36}" type="datetimeFigureOut">
              <a:rPr lang="en-US"/>
              <a:pPr>
                <a:defRPr/>
              </a:pPr>
              <a:t>5/31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9788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565" tIns="46285" rIns="92565" bIns="46285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6" y="4416427"/>
            <a:ext cx="5607050" cy="4183064"/>
          </a:xfrm>
          <a:prstGeom prst="rect">
            <a:avLst/>
          </a:prstGeom>
        </p:spPr>
        <p:txBody>
          <a:bodyPr vert="horz" lIns="92565" tIns="46285" rIns="92565" bIns="46285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" y="8829675"/>
            <a:ext cx="3038475" cy="465138"/>
          </a:xfrm>
          <a:prstGeom prst="rect">
            <a:avLst/>
          </a:prstGeom>
        </p:spPr>
        <p:txBody>
          <a:bodyPr vert="horz" lIns="92565" tIns="46285" rIns="92565" bIns="4628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44" y="8829675"/>
            <a:ext cx="3038475" cy="465138"/>
          </a:xfrm>
          <a:prstGeom prst="rect">
            <a:avLst/>
          </a:prstGeom>
        </p:spPr>
        <p:txBody>
          <a:bodyPr vert="horz" wrap="square" lIns="92565" tIns="46285" rIns="92565" bIns="4628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A3D7A5E5-37BD-444D-ACBF-4424B9FE2197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4F6A4E7-ECD8-4807-AEFA-68D531C18D59}" type="slidenum">
              <a:rPr lang="en-US"/>
              <a:pPr/>
              <a:t>1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E218FD3-3DC5-4EA2-9339-048DF68DED59}" type="slidenum">
              <a:rPr lang="en-US"/>
              <a:pPr/>
              <a:t>10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430DB06-7FEA-478C-8390-F77838A2B5B3}" type="slidenum">
              <a:rPr lang="en-US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E218FD3-3DC5-4EA2-9339-048DF68DED59}" type="slidenum">
              <a:rPr lang="en-US"/>
              <a:pPr/>
              <a:t>12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D7A5E5-37BD-444D-ACBF-4424B9FE2197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" name="Notes Placeholder 5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25EE73B-0705-43D9-A28B-8D932B6EAE7C}" type="slidenum">
              <a:rPr lang="en-US"/>
              <a:pPr/>
              <a:t>14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25EE73B-0705-43D9-A28B-8D932B6EAE7C}" type="slidenum">
              <a:rPr lang="en-US"/>
              <a:pPr/>
              <a:t>15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939B6AF-FE6A-4F5B-9675-1E37ADDA3283}" type="slidenum">
              <a:rPr lang="en-US"/>
              <a:pPr/>
              <a:t>16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3E3B72-8985-45F8-B8F6-FD6B5A1731B6}" type="slidenum">
              <a:rPr lang="en-US"/>
              <a:pPr/>
              <a:t>17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3E3B72-8985-45F8-B8F6-FD6B5A1731B6}" type="slidenum">
              <a:rPr lang="en-US"/>
              <a:pPr/>
              <a:t>18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0838A66-0AF2-41EF-B54F-7FA348070B23}" type="slidenum">
              <a:rPr lang="en-US"/>
              <a:pPr/>
              <a:t>19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D7A5E5-37BD-444D-ACBF-4424B9FE219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Notes Placeholder 5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0838A66-0AF2-41EF-B54F-7FA348070B23}" type="slidenum">
              <a:rPr lang="en-US"/>
              <a:pPr/>
              <a:t>20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686F389-32B6-4F62-98F4-FE0F29AD7143}" type="slidenum">
              <a:rPr lang="en-US"/>
              <a:pPr/>
              <a:t>21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3AE575F-1387-427B-A826-B86451F5439A}" type="slidenum">
              <a:rPr lang="en-US"/>
              <a:pPr/>
              <a:t>22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0838A66-0AF2-41EF-B54F-7FA348070B23}" type="slidenum">
              <a:rPr lang="en-US"/>
              <a:pPr/>
              <a:t>23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686F389-32B6-4F62-98F4-FE0F29AD7143}" type="slidenum">
              <a:rPr lang="en-US"/>
              <a:pPr/>
              <a:t>24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686F389-32B6-4F62-98F4-FE0F29AD7143}" type="slidenum">
              <a:rPr lang="en-US"/>
              <a:pPr/>
              <a:t>25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36DFDC5-514A-4DC3-A2B1-B5C24B5C3178}" type="slidenum">
              <a:rPr lang="en-US"/>
              <a:pPr/>
              <a:t>26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C859872-8755-4AF9-B072-DDE0D49762E8}" type="slidenum">
              <a:rPr lang="en-US"/>
              <a:pPr/>
              <a:t>27</a:t>
            </a:fld>
            <a:endParaRPr lang="en-US"/>
          </a:p>
        </p:txBody>
      </p:sp>
      <p:sp>
        <p:nvSpPr>
          <p:cNvPr id="6" name="Notes Placeholder 5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5503691-E5B0-4A71-BEAF-19DC9575568F}" type="slidenum">
              <a:rPr lang="en-US"/>
              <a:pPr/>
              <a:t>28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D85E70C-6F43-4FB7-91A4-7E1436D80E82}" type="slidenum">
              <a:rPr lang="en-US"/>
              <a:pPr/>
              <a:t>29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7A47773-2AFB-417B-8C12-E1C806B697F8}" type="slidenum">
              <a:rPr lang="en-US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D85E70C-6F43-4FB7-91A4-7E1436D80E82}" type="slidenum">
              <a:rPr lang="en-US"/>
              <a:pPr/>
              <a:t>30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3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7524C52-3717-4E6B-80FD-560C8DA38337}" type="slidenum">
              <a:rPr lang="en-US"/>
              <a:pPr/>
              <a:t>31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7E6E32F7-23DC-4FB0-8E87-22557FBFC10A}" type="slidenum">
              <a:rPr lang="en-US"/>
              <a:pPr/>
              <a:t>32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35BA2A2-0705-4633-BB82-123A9E669619}" type="slidenum">
              <a:rPr lang="en-US"/>
              <a:pPr/>
              <a:t>33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5394621-6FB5-4772-AB5A-F0276DEDFEF2}" type="slidenum">
              <a:rPr lang="en-US"/>
              <a:pPr/>
              <a:t>34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34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DE865B0-0F0A-463F-8B8C-44182F9B22D7}" type="slidenum">
              <a:rPr lang="en-US"/>
              <a:pPr/>
              <a:t>35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55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78136DD-7492-4E85-AC98-468223F71043}" type="slidenum">
              <a:rPr lang="en-US"/>
              <a:pPr/>
              <a:t>36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7DFD89A9-A7D6-47CD-943F-AF1491E011EC}" type="datetime1">
              <a:rPr lang="en-GB" smtClean="0"/>
              <a:pPr>
                <a:defRPr/>
              </a:pPr>
              <a:t>31/05/201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E04760D-6D82-4FF0-AAFF-80E4BBAC02C4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  <p:sp>
        <p:nvSpPr>
          <p:cNvPr id="6" name="Notes Placeholder 5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D7A5E5-37BD-444D-ACBF-4424B9FE2197}" type="slidenum">
              <a:rPr lang="en-US" smtClean="0"/>
              <a:pPr/>
              <a:t>38</a:t>
            </a:fld>
            <a:endParaRPr lang="en-US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ECF38F1B-6A89-4741-87F5-969E99351255}" type="datetime1">
              <a:rPr lang="en-GB" smtClean="0"/>
              <a:pPr>
                <a:defRPr/>
              </a:pPr>
              <a:t>31/05/201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E04760D-6D82-4FF0-AAFF-80E4BBAC02C4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  <p:sp>
        <p:nvSpPr>
          <p:cNvPr id="6" name="Notes Placeholder 5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D7A5E5-37BD-444D-ACBF-4424B9FE219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D7A5E5-37BD-444D-ACBF-4424B9FE2197}" type="slidenum">
              <a:rPr lang="en-US" smtClean="0"/>
              <a:pPr/>
              <a:t>40</a:t>
            </a:fld>
            <a:endParaRPr lang="en-US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68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21BF681-40D8-46BC-9F04-2EEA08827721}" type="slidenum">
              <a:rPr lang="en-US"/>
              <a:pPr/>
              <a:t>41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76D0BD8E-ADD6-44B1-84E7-5BA6D53A02BB}" type="slidenum">
              <a:rPr lang="en-US"/>
              <a:pPr/>
              <a:t>42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D7A5E5-37BD-444D-ACBF-4424B9FE219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D7A5E5-37BD-444D-ACBF-4424B9FE219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E413E78-FDB5-40A4-B2CD-19E9FF35C581}" type="slidenum">
              <a:rPr lang="en-US"/>
              <a:pPr/>
              <a:t>7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47347C9-DF8A-4B5E-B8C2-3EB8239E1F2A}" type="slidenum">
              <a:rPr lang="en-US"/>
              <a:pPr/>
              <a:t>8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47347C9-DF8A-4B5E-B8C2-3EB8239E1F2A}" type="slidenum">
              <a:rPr lang="en-US"/>
              <a:pPr/>
              <a:t>9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5" name="Group 21"/>
          <p:cNvGrpSpPr>
            <a:grpSpLocks/>
          </p:cNvGrpSpPr>
          <p:nvPr/>
        </p:nvGrpSpPr>
        <p:grpSpPr bwMode="auto">
          <a:xfrm>
            <a:off x="0" y="2268538"/>
            <a:ext cx="4191000" cy="4589462"/>
            <a:chOff x="-1" y="1600199"/>
            <a:chExt cx="4501019" cy="5257801"/>
          </a:xfrm>
        </p:grpSpPr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-1" y="1600199"/>
              <a:ext cx="4127640" cy="25152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18"/>
                </a:cxn>
                <a:cxn ang="0">
                  <a:pos x="246" y="40"/>
                </a:cxn>
                <a:cxn ang="0">
                  <a:pos x="365" y="64"/>
                </a:cxn>
                <a:cxn ang="0">
                  <a:pos x="596" y="127"/>
                </a:cxn>
                <a:cxn ang="0">
                  <a:pos x="815" y="200"/>
                </a:cxn>
                <a:cxn ang="0">
                  <a:pos x="1025" y="286"/>
                </a:cxn>
                <a:cxn ang="0">
                  <a:pos x="1223" y="380"/>
                </a:cxn>
                <a:cxn ang="0">
                  <a:pos x="1411" y="482"/>
                </a:cxn>
                <a:cxn ang="0">
                  <a:pos x="1588" y="591"/>
                </a:cxn>
                <a:cxn ang="0">
                  <a:pos x="1753" y="707"/>
                </a:cxn>
                <a:cxn ang="0">
                  <a:pos x="1907" y="824"/>
                </a:cxn>
                <a:cxn ang="0">
                  <a:pos x="2047" y="946"/>
                </a:cxn>
                <a:cxn ang="0">
                  <a:pos x="2177" y="1066"/>
                </a:cxn>
                <a:cxn ang="0">
                  <a:pos x="2293" y="1189"/>
                </a:cxn>
                <a:cxn ang="0">
                  <a:pos x="2397" y="1308"/>
                </a:cxn>
                <a:cxn ang="0">
                  <a:pos x="2488" y="1423"/>
                </a:cxn>
                <a:cxn ang="0">
                  <a:pos x="2565" y="1534"/>
                </a:cxn>
                <a:cxn ang="0">
                  <a:pos x="2600" y="1587"/>
                </a:cxn>
                <a:cxn ang="0">
                  <a:pos x="2535" y="1522"/>
                </a:cxn>
                <a:cxn ang="0">
                  <a:pos x="2455" y="1451"/>
                </a:cxn>
                <a:cxn ang="0">
                  <a:pos x="2359" y="1375"/>
                </a:cxn>
                <a:cxn ang="0">
                  <a:pos x="2247" y="1294"/>
                </a:cxn>
                <a:cxn ang="0">
                  <a:pos x="2119" y="1215"/>
                </a:cxn>
                <a:cxn ang="0">
                  <a:pos x="1981" y="1134"/>
                </a:cxn>
                <a:cxn ang="0">
                  <a:pos x="1827" y="1058"/>
                </a:cxn>
                <a:cxn ang="0">
                  <a:pos x="1662" y="986"/>
                </a:cxn>
                <a:cxn ang="0">
                  <a:pos x="1486" y="921"/>
                </a:cxn>
                <a:cxn ang="0">
                  <a:pos x="1299" y="865"/>
                </a:cxn>
                <a:cxn ang="0">
                  <a:pos x="1103" y="819"/>
                </a:cxn>
                <a:cxn ang="0">
                  <a:pos x="896" y="787"/>
                </a:cxn>
                <a:cxn ang="0">
                  <a:pos x="791" y="776"/>
                </a:cxn>
                <a:cxn ang="0">
                  <a:pos x="683" y="769"/>
                </a:cxn>
                <a:cxn ang="0">
                  <a:pos x="573" y="768"/>
                </a:cxn>
                <a:cxn ang="0">
                  <a:pos x="462" y="769"/>
                </a:cxn>
                <a:cxn ang="0">
                  <a:pos x="348" y="776"/>
                </a:cxn>
                <a:cxn ang="0">
                  <a:pos x="234" y="787"/>
                </a:cxn>
                <a:cxn ang="0">
                  <a:pos x="117" y="806"/>
                </a:cxn>
                <a:cxn ang="0">
                  <a:pos x="0" y="827"/>
                </a:cxn>
                <a:cxn ang="0">
                  <a:pos x="0" y="0"/>
                </a:cxn>
              </a:cxnLst>
              <a:rect l="0" t="0" r="r" b="b"/>
              <a:pathLst>
                <a:path w="2600" h="1587">
                  <a:moveTo>
                    <a:pt x="0" y="0"/>
                  </a:moveTo>
                  <a:lnTo>
                    <a:pt x="0" y="0"/>
                  </a:lnTo>
                  <a:lnTo>
                    <a:pt x="63" y="8"/>
                  </a:lnTo>
                  <a:lnTo>
                    <a:pt x="124" y="18"/>
                  </a:lnTo>
                  <a:lnTo>
                    <a:pt x="185" y="28"/>
                  </a:lnTo>
                  <a:lnTo>
                    <a:pt x="246" y="40"/>
                  </a:lnTo>
                  <a:lnTo>
                    <a:pt x="305" y="53"/>
                  </a:lnTo>
                  <a:lnTo>
                    <a:pt x="365" y="64"/>
                  </a:lnTo>
                  <a:lnTo>
                    <a:pt x="480" y="94"/>
                  </a:lnTo>
                  <a:lnTo>
                    <a:pt x="596" y="127"/>
                  </a:lnTo>
                  <a:lnTo>
                    <a:pt x="706" y="162"/>
                  </a:lnTo>
                  <a:lnTo>
                    <a:pt x="815" y="200"/>
                  </a:lnTo>
                  <a:lnTo>
                    <a:pt x="921" y="241"/>
                  </a:lnTo>
                  <a:lnTo>
                    <a:pt x="1025" y="286"/>
                  </a:lnTo>
                  <a:lnTo>
                    <a:pt x="1126" y="330"/>
                  </a:lnTo>
                  <a:lnTo>
                    <a:pt x="1223" y="380"/>
                  </a:lnTo>
                  <a:lnTo>
                    <a:pt x="1319" y="429"/>
                  </a:lnTo>
                  <a:lnTo>
                    <a:pt x="1411" y="482"/>
                  </a:lnTo>
                  <a:lnTo>
                    <a:pt x="1502" y="537"/>
                  </a:lnTo>
                  <a:lnTo>
                    <a:pt x="1588" y="591"/>
                  </a:lnTo>
                  <a:lnTo>
                    <a:pt x="1672" y="649"/>
                  </a:lnTo>
                  <a:lnTo>
                    <a:pt x="1753" y="707"/>
                  </a:lnTo>
                  <a:lnTo>
                    <a:pt x="1831" y="764"/>
                  </a:lnTo>
                  <a:lnTo>
                    <a:pt x="1907" y="824"/>
                  </a:lnTo>
                  <a:lnTo>
                    <a:pt x="1979" y="885"/>
                  </a:lnTo>
                  <a:lnTo>
                    <a:pt x="2047" y="946"/>
                  </a:lnTo>
                  <a:lnTo>
                    <a:pt x="2113" y="1005"/>
                  </a:lnTo>
                  <a:lnTo>
                    <a:pt x="2177" y="1066"/>
                  </a:lnTo>
                  <a:lnTo>
                    <a:pt x="2237" y="1128"/>
                  </a:lnTo>
                  <a:lnTo>
                    <a:pt x="2293" y="1189"/>
                  </a:lnTo>
                  <a:lnTo>
                    <a:pt x="2347" y="1248"/>
                  </a:lnTo>
                  <a:lnTo>
                    <a:pt x="2397" y="1308"/>
                  </a:lnTo>
                  <a:lnTo>
                    <a:pt x="2445" y="1365"/>
                  </a:lnTo>
                  <a:lnTo>
                    <a:pt x="2488" y="1423"/>
                  </a:lnTo>
                  <a:lnTo>
                    <a:pt x="2529" y="1479"/>
                  </a:lnTo>
                  <a:lnTo>
                    <a:pt x="2565" y="1534"/>
                  </a:lnTo>
                  <a:lnTo>
                    <a:pt x="2600" y="1587"/>
                  </a:lnTo>
                  <a:lnTo>
                    <a:pt x="2600" y="1587"/>
                  </a:lnTo>
                  <a:lnTo>
                    <a:pt x="2570" y="1555"/>
                  </a:lnTo>
                  <a:lnTo>
                    <a:pt x="2535" y="1522"/>
                  </a:lnTo>
                  <a:lnTo>
                    <a:pt x="2497" y="1487"/>
                  </a:lnTo>
                  <a:lnTo>
                    <a:pt x="2455" y="1451"/>
                  </a:lnTo>
                  <a:lnTo>
                    <a:pt x="2408" y="1413"/>
                  </a:lnTo>
                  <a:lnTo>
                    <a:pt x="2359" y="1375"/>
                  </a:lnTo>
                  <a:lnTo>
                    <a:pt x="2304" y="1336"/>
                  </a:lnTo>
                  <a:lnTo>
                    <a:pt x="2247" y="1294"/>
                  </a:lnTo>
                  <a:lnTo>
                    <a:pt x="2185" y="1255"/>
                  </a:lnTo>
                  <a:lnTo>
                    <a:pt x="2119" y="1215"/>
                  </a:lnTo>
                  <a:lnTo>
                    <a:pt x="2052" y="1174"/>
                  </a:lnTo>
                  <a:lnTo>
                    <a:pt x="1981" y="1134"/>
                  </a:lnTo>
                  <a:lnTo>
                    <a:pt x="1905" y="1096"/>
                  </a:lnTo>
                  <a:lnTo>
                    <a:pt x="1827" y="1058"/>
                  </a:lnTo>
                  <a:lnTo>
                    <a:pt x="1746" y="1020"/>
                  </a:lnTo>
                  <a:lnTo>
                    <a:pt x="1662" y="986"/>
                  </a:lnTo>
                  <a:lnTo>
                    <a:pt x="1576" y="953"/>
                  </a:lnTo>
                  <a:lnTo>
                    <a:pt x="1486" y="921"/>
                  </a:lnTo>
                  <a:lnTo>
                    <a:pt x="1393" y="891"/>
                  </a:lnTo>
                  <a:lnTo>
                    <a:pt x="1299" y="865"/>
                  </a:lnTo>
                  <a:lnTo>
                    <a:pt x="1202" y="840"/>
                  </a:lnTo>
                  <a:lnTo>
                    <a:pt x="1103" y="819"/>
                  </a:lnTo>
                  <a:lnTo>
                    <a:pt x="1000" y="801"/>
                  </a:lnTo>
                  <a:lnTo>
                    <a:pt x="896" y="787"/>
                  </a:lnTo>
                  <a:lnTo>
                    <a:pt x="843" y="781"/>
                  </a:lnTo>
                  <a:lnTo>
                    <a:pt x="791" y="776"/>
                  </a:lnTo>
                  <a:lnTo>
                    <a:pt x="738" y="773"/>
                  </a:lnTo>
                  <a:lnTo>
                    <a:pt x="683" y="769"/>
                  </a:lnTo>
                  <a:lnTo>
                    <a:pt x="629" y="768"/>
                  </a:lnTo>
                  <a:lnTo>
                    <a:pt x="573" y="768"/>
                  </a:lnTo>
                  <a:lnTo>
                    <a:pt x="518" y="768"/>
                  </a:lnTo>
                  <a:lnTo>
                    <a:pt x="462" y="769"/>
                  </a:lnTo>
                  <a:lnTo>
                    <a:pt x="406" y="773"/>
                  </a:lnTo>
                  <a:lnTo>
                    <a:pt x="348" y="776"/>
                  </a:lnTo>
                  <a:lnTo>
                    <a:pt x="292" y="781"/>
                  </a:lnTo>
                  <a:lnTo>
                    <a:pt x="234" y="787"/>
                  </a:lnTo>
                  <a:lnTo>
                    <a:pt x="177" y="796"/>
                  </a:lnTo>
                  <a:lnTo>
                    <a:pt x="117" y="806"/>
                  </a:lnTo>
                  <a:lnTo>
                    <a:pt x="59" y="816"/>
                  </a:lnTo>
                  <a:lnTo>
                    <a:pt x="0" y="82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-1" y="3580740"/>
              <a:ext cx="1600931" cy="3277260"/>
            </a:xfrm>
            <a:custGeom>
              <a:avLst/>
              <a:gdLst/>
              <a:ahLst/>
              <a:cxnLst>
                <a:cxn ang="0">
                  <a:pos x="0" y="776"/>
                </a:cxn>
                <a:cxn ang="0">
                  <a:pos x="0" y="776"/>
                </a:cxn>
                <a:cxn ang="0">
                  <a:pos x="38" y="703"/>
                </a:cxn>
                <a:cxn ang="0">
                  <a:pos x="78" y="634"/>
                </a:cxn>
                <a:cxn ang="0">
                  <a:pos x="119" y="566"/>
                </a:cxn>
                <a:cxn ang="0">
                  <a:pos x="162" y="502"/>
                </a:cxn>
                <a:cxn ang="0">
                  <a:pos x="208" y="441"/>
                </a:cxn>
                <a:cxn ang="0">
                  <a:pos x="256" y="381"/>
                </a:cxn>
                <a:cxn ang="0">
                  <a:pos x="305" y="327"/>
                </a:cxn>
                <a:cxn ang="0">
                  <a:pos x="330" y="300"/>
                </a:cxn>
                <a:cxn ang="0">
                  <a:pos x="357" y="274"/>
                </a:cxn>
                <a:cxn ang="0">
                  <a:pos x="385" y="249"/>
                </a:cxn>
                <a:cxn ang="0">
                  <a:pos x="411" y="226"/>
                </a:cxn>
                <a:cxn ang="0">
                  <a:pos x="439" y="203"/>
                </a:cxn>
                <a:cxn ang="0">
                  <a:pos x="469" y="182"/>
                </a:cxn>
                <a:cxn ang="0">
                  <a:pos x="497" y="160"/>
                </a:cxn>
                <a:cxn ang="0">
                  <a:pos x="527" y="140"/>
                </a:cxn>
                <a:cxn ang="0">
                  <a:pos x="558" y="122"/>
                </a:cxn>
                <a:cxn ang="0">
                  <a:pos x="588" y="104"/>
                </a:cxn>
                <a:cxn ang="0">
                  <a:pos x="619" y="87"/>
                </a:cxn>
                <a:cxn ang="0">
                  <a:pos x="652" y="71"/>
                </a:cxn>
                <a:cxn ang="0">
                  <a:pos x="685" y="56"/>
                </a:cxn>
                <a:cxn ang="0">
                  <a:pos x="718" y="43"/>
                </a:cxn>
                <a:cxn ang="0">
                  <a:pos x="751" y="31"/>
                </a:cxn>
                <a:cxn ang="0">
                  <a:pos x="786" y="20"/>
                </a:cxn>
                <a:cxn ang="0">
                  <a:pos x="822" y="10"/>
                </a:cxn>
                <a:cxn ang="0">
                  <a:pos x="857" y="0"/>
                </a:cxn>
                <a:cxn ang="0">
                  <a:pos x="857" y="0"/>
                </a:cxn>
                <a:cxn ang="0">
                  <a:pos x="806" y="46"/>
                </a:cxn>
                <a:cxn ang="0">
                  <a:pos x="754" y="94"/>
                </a:cxn>
                <a:cxn ang="0">
                  <a:pos x="706" y="144"/>
                </a:cxn>
                <a:cxn ang="0">
                  <a:pos x="660" y="196"/>
                </a:cxn>
                <a:cxn ang="0">
                  <a:pos x="617" y="249"/>
                </a:cxn>
                <a:cxn ang="0">
                  <a:pos x="576" y="304"/>
                </a:cxn>
                <a:cxn ang="0">
                  <a:pos x="536" y="362"/>
                </a:cxn>
                <a:cxn ang="0">
                  <a:pos x="498" y="419"/>
                </a:cxn>
                <a:cxn ang="0">
                  <a:pos x="462" y="479"/>
                </a:cxn>
                <a:cxn ang="0">
                  <a:pos x="429" y="538"/>
                </a:cxn>
                <a:cxn ang="0">
                  <a:pos x="398" y="601"/>
                </a:cxn>
                <a:cxn ang="0">
                  <a:pos x="368" y="664"/>
                </a:cxn>
                <a:cxn ang="0">
                  <a:pos x="340" y="728"/>
                </a:cxn>
                <a:cxn ang="0">
                  <a:pos x="315" y="792"/>
                </a:cxn>
                <a:cxn ang="0">
                  <a:pos x="291" y="858"/>
                </a:cxn>
                <a:cxn ang="0">
                  <a:pos x="269" y="925"/>
                </a:cxn>
                <a:cxn ang="0">
                  <a:pos x="249" y="992"/>
                </a:cxn>
                <a:cxn ang="0">
                  <a:pos x="229" y="1060"/>
                </a:cxn>
                <a:cxn ang="0">
                  <a:pos x="213" y="1128"/>
                </a:cxn>
                <a:cxn ang="0">
                  <a:pos x="198" y="1197"/>
                </a:cxn>
                <a:cxn ang="0">
                  <a:pos x="185" y="1266"/>
                </a:cxn>
                <a:cxn ang="0">
                  <a:pos x="173" y="1336"/>
                </a:cxn>
                <a:cxn ang="0">
                  <a:pos x="162" y="1405"/>
                </a:cxn>
                <a:cxn ang="0">
                  <a:pos x="154" y="1474"/>
                </a:cxn>
                <a:cxn ang="0">
                  <a:pos x="147" y="1544"/>
                </a:cxn>
                <a:cxn ang="0">
                  <a:pos x="140" y="1613"/>
                </a:cxn>
                <a:cxn ang="0">
                  <a:pos x="137" y="1682"/>
                </a:cxn>
                <a:cxn ang="0">
                  <a:pos x="134" y="1752"/>
                </a:cxn>
                <a:cxn ang="0">
                  <a:pos x="132" y="1821"/>
                </a:cxn>
                <a:cxn ang="0">
                  <a:pos x="132" y="1889"/>
                </a:cxn>
                <a:cxn ang="0">
                  <a:pos x="134" y="1956"/>
                </a:cxn>
                <a:cxn ang="0">
                  <a:pos x="135" y="2024"/>
                </a:cxn>
                <a:cxn ang="0">
                  <a:pos x="0" y="2024"/>
                </a:cxn>
                <a:cxn ang="0">
                  <a:pos x="0" y="776"/>
                </a:cxn>
                <a:cxn ang="0">
                  <a:pos x="0" y="776"/>
                </a:cxn>
              </a:cxnLst>
              <a:rect l="0" t="0" r="r" b="b"/>
              <a:pathLst>
                <a:path w="857" h="2024">
                  <a:moveTo>
                    <a:pt x="0" y="776"/>
                  </a:moveTo>
                  <a:lnTo>
                    <a:pt x="0" y="776"/>
                  </a:lnTo>
                  <a:lnTo>
                    <a:pt x="38" y="703"/>
                  </a:lnTo>
                  <a:lnTo>
                    <a:pt x="78" y="634"/>
                  </a:lnTo>
                  <a:lnTo>
                    <a:pt x="119" y="566"/>
                  </a:lnTo>
                  <a:lnTo>
                    <a:pt x="162" y="502"/>
                  </a:lnTo>
                  <a:lnTo>
                    <a:pt x="208" y="441"/>
                  </a:lnTo>
                  <a:lnTo>
                    <a:pt x="256" y="381"/>
                  </a:lnTo>
                  <a:lnTo>
                    <a:pt x="305" y="327"/>
                  </a:lnTo>
                  <a:lnTo>
                    <a:pt x="330" y="300"/>
                  </a:lnTo>
                  <a:lnTo>
                    <a:pt x="357" y="274"/>
                  </a:lnTo>
                  <a:lnTo>
                    <a:pt x="385" y="249"/>
                  </a:lnTo>
                  <a:lnTo>
                    <a:pt x="411" y="226"/>
                  </a:lnTo>
                  <a:lnTo>
                    <a:pt x="439" y="203"/>
                  </a:lnTo>
                  <a:lnTo>
                    <a:pt x="469" y="182"/>
                  </a:lnTo>
                  <a:lnTo>
                    <a:pt x="497" y="160"/>
                  </a:lnTo>
                  <a:lnTo>
                    <a:pt x="527" y="140"/>
                  </a:lnTo>
                  <a:lnTo>
                    <a:pt x="558" y="122"/>
                  </a:lnTo>
                  <a:lnTo>
                    <a:pt x="588" y="104"/>
                  </a:lnTo>
                  <a:lnTo>
                    <a:pt x="619" y="87"/>
                  </a:lnTo>
                  <a:lnTo>
                    <a:pt x="652" y="71"/>
                  </a:lnTo>
                  <a:lnTo>
                    <a:pt x="685" y="56"/>
                  </a:lnTo>
                  <a:lnTo>
                    <a:pt x="718" y="43"/>
                  </a:lnTo>
                  <a:lnTo>
                    <a:pt x="751" y="31"/>
                  </a:lnTo>
                  <a:lnTo>
                    <a:pt x="786" y="20"/>
                  </a:lnTo>
                  <a:lnTo>
                    <a:pt x="822" y="10"/>
                  </a:lnTo>
                  <a:lnTo>
                    <a:pt x="857" y="0"/>
                  </a:lnTo>
                  <a:lnTo>
                    <a:pt x="857" y="0"/>
                  </a:lnTo>
                  <a:lnTo>
                    <a:pt x="806" y="46"/>
                  </a:lnTo>
                  <a:lnTo>
                    <a:pt x="754" y="94"/>
                  </a:lnTo>
                  <a:lnTo>
                    <a:pt x="706" y="144"/>
                  </a:lnTo>
                  <a:lnTo>
                    <a:pt x="660" y="196"/>
                  </a:lnTo>
                  <a:lnTo>
                    <a:pt x="617" y="249"/>
                  </a:lnTo>
                  <a:lnTo>
                    <a:pt x="576" y="304"/>
                  </a:lnTo>
                  <a:lnTo>
                    <a:pt x="536" y="362"/>
                  </a:lnTo>
                  <a:lnTo>
                    <a:pt x="498" y="419"/>
                  </a:lnTo>
                  <a:lnTo>
                    <a:pt x="462" y="479"/>
                  </a:lnTo>
                  <a:lnTo>
                    <a:pt x="429" y="538"/>
                  </a:lnTo>
                  <a:lnTo>
                    <a:pt x="398" y="601"/>
                  </a:lnTo>
                  <a:lnTo>
                    <a:pt x="368" y="664"/>
                  </a:lnTo>
                  <a:lnTo>
                    <a:pt x="340" y="728"/>
                  </a:lnTo>
                  <a:lnTo>
                    <a:pt x="315" y="792"/>
                  </a:lnTo>
                  <a:lnTo>
                    <a:pt x="291" y="858"/>
                  </a:lnTo>
                  <a:lnTo>
                    <a:pt x="269" y="925"/>
                  </a:lnTo>
                  <a:lnTo>
                    <a:pt x="249" y="992"/>
                  </a:lnTo>
                  <a:lnTo>
                    <a:pt x="229" y="1060"/>
                  </a:lnTo>
                  <a:lnTo>
                    <a:pt x="213" y="1128"/>
                  </a:lnTo>
                  <a:lnTo>
                    <a:pt x="198" y="1197"/>
                  </a:lnTo>
                  <a:lnTo>
                    <a:pt x="185" y="1266"/>
                  </a:lnTo>
                  <a:lnTo>
                    <a:pt x="173" y="1336"/>
                  </a:lnTo>
                  <a:lnTo>
                    <a:pt x="162" y="1405"/>
                  </a:lnTo>
                  <a:lnTo>
                    <a:pt x="154" y="1474"/>
                  </a:lnTo>
                  <a:lnTo>
                    <a:pt x="147" y="1544"/>
                  </a:lnTo>
                  <a:lnTo>
                    <a:pt x="140" y="1613"/>
                  </a:lnTo>
                  <a:lnTo>
                    <a:pt x="137" y="1682"/>
                  </a:lnTo>
                  <a:lnTo>
                    <a:pt x="134" y="1752"/>
                  </a:lnTo>
                  <a:lnTo>
                    <a:pt x="132" y="1821"/>
                  </a:lnTo>
                  <a:lnTo>
                    <a:pt x="132" y="1889"/>
                  </a:lnTo>
                  <a:lnTo>
                    <a:pt x="134" y="1956"/>
                  </a:lnTo>
                  <a:lnTo>
                    <a:pt x="135" y="2024"/>
                  </a:lnTo>
                  <a:lnTo>
                    <a:pt x="0" y="2024"/>
                  </a:lnTo>
                  <a:lnTo>
                    <a:pt x="0" y="776"/>
                  </a:lnTo>
                  <a:lnTo>
                    <a:pt x="0" y="776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  <a:alpha val="44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-1" y="2438610"/>
              <a:ext cx="2894974" cy="2153316"/>
            </a:xfrm>
            <a:custGeom>
              <a:avLst/>
              <a:gdLst/>
              <a:ahLst/>
              <a:cxnLst>
                <a:cxn ang="0">
                  <a:pos x="0" y="118"/>
                </a:cxn>
                <a:cxn ang="0">
                  <a:pos x="165" y="69"/>
                </a:cxn>
                <a:cxn ang="0">
                  <a:pos x="327" y="33"/>
                </a:cxn>
                <a:cxn ang="0">
                  <a:pos x="487" y="11"/>
                </a:cxn>
                <a:cxn ang="0">
                  <a:pos x="645" y="1"/>
                </a:cxn>
                <a:cxn ang="0">
                  <a:pos x="797" y="1"/>
                </a:cxn>
                <a:cxn ang="0">
                  <a:pos x="946" y="13"/>
                </a:cxn>
                <a:cxn ang="0">
                  <a:pos x="1088" y="33"/>
                </a:cxn>
                <a:cxn ang="0">
                  <a:pos x="1225" y="62"/>
                </a:cxn>
                <a:cxn ang="0">
                  <a:pos x="1352" y="97"/>
                </a:cxn>
                <a:cxn ang="0">
                  <a:pos x="1472" y="138"/>
                </a:cxn>
                <a:cxn ang="0">
                  <a:pos x="1585" y="184"/>
                </a:cxn>
                <a:cxn ang="0">
                  <a:pos x="1685" y="236"/>
                </a:cxn>
                <a:cxn ang="0">
                  <a:pos x="1776" y="288"/>
                </a:cxn>
                <a:cxn ang="0">
                  <a:pos x="1854" y="343"/>
                </a:cxn>
                <a:cxn ang="0">
                  <a:pos x="1921" y="399"/>
                </a:cxn>
                <a:cxn ang="0">
                  <a:pos x="1974" y="455"/>
                </a:cxn>
                <a:cxn ang="0">
                  <a:pos x="1920" y="434"/>
                </a:cxn>
                <a:cxn ang="0">
                  <a:pos x="1804" y="394"/>
                </a:cxn>
                <a:cxn ang="0">
                  <a:pos x="1680" y="361"/>
                </a:cxn>
                <a:cxn ang="0">
                  <a:pos x="1548" y="338"/>
                </a:cxn>
                <a:cxn ang="0">
                  <a:pos x="1413" y="323"/>
                </a:cxn>
                <a:cxn ang="0">
                  <a:pos x="1273" y="321"/>
                </a:cxn>
                <a:cxn ang="0">
                  <a:pos x="1132" y="331"/>
                </a:cxn>
                <a:cxn ang="0">
                  <a:pos x="990" y="356"/>
                </a:cxn>
                <a:cxn ang="0">
                  <a:pos x="919" y="374"/>
                </a:cxn>
                <a:cxn ang="0">
                  <a:pos x="850" y="396"/>
                </a:cxn>
                <a:cxn ang="0">
                  <a:pos x="781" y="424"/>
                </a:cxn>
                <a:cxn ang="0">
                  <a:pos x="711" y="455"/>
                </a:cxn>
                <a:cxn ang="0">
                  <a:pos x="645" y="490"/>
                </a:cxn>
                <a:cxn ang="0">
                  <a:pos x="579" y="531"/>
                </a:cxn>
                <a:cxn ang="0">
                  <a:pos x="515" y="577"/>
                </a:cxn>
                <a:cxn ang="0">
                  <a:pos x="452" y="629"/>
                </a:cxn>
                <a:cxn ang="0">
                  <a:pos x="391" y="685"/>
                </a:cxn>
                <a:cxn ang="0">
                  <a:pos x="333" y="747"/>
                </a:cxn>
                <a:cxn ang="0">
                  <a:pos x="277" y="815"/>
                </a:cxn>
                <a:cxn ang="0">
                  <a:pos x="223" y="889"/>
                </a:cxn>
                <a:cxn ang="0">
                  <a:pos x="172" y="970"/>
                </a:cxn>
                <a:cxn ang="0">
                  <a:pos x="124" y="1056"/>
                </a:cxn>
                <a:cxn ang="0">
                  <a:pos x="79" y="1150"/>
                </a:cxn>
                <a:cxn ang="0">
                  <a:pos x="38" y="1249"/>
                </a:cxn>
                <a:cxn ang="0">
                  <a:pos x="0" y="1357"/>
                </a:cxn>
                <a:cxn ang="0">
                  <a:pos x="0" y="118"/>
                </a:cxn>
              </a:cxnLst>
              <a:rect l="0" t="0" r="r" b="b"/>
              <a:pathLst>
                <a:path w="1974" h="1357">
                  <a:moveTo>
                    <a:pt x="0" y="118"/>
                  </a:moveTo>
                  <a:lnTo>
                    <a:pt x="0" y="118"/>
                  </a:lnTo>
                  <a:lnTo>
                    <a:pt x="83" y="92"/>
                  </a:lnTo>
                  <a:lnTo>
                    <a:pt x="165" y="69"/>
                  </a:lnTo>
                  <a:lnTo>
                    <a:pt x="246" y="49"/>
                  </a:lnTo>
                  <a:lnTo>
                    <a:pt x="327" y="33"/>
                  </a:lnTo>
                  <a:lnTo>
                    <a:pt x="408" y="21"/>
                  </a:lnTo>
                  <a:lnTo>
                    <a:pt x="487" y="11"/>
                  </a:lnTo>
                  <a:lnTo>
                    <a:pt x="566" y="5"/>
                  </a:lnTo>
                  <a:lnTo>
                    <a:pt x="645" y="1"/>
                  </a:lnTo>
                  <a:lnTo>
                    <a:pt x="721" y="0"/>
                  </a:lnTo>
                  <a:lnTo>
                    <a:pt x="797" y="1"/>
                  </a:lnTo>
                  <a:lnTo>
                    <a:pt x="873" y="6"/>
                  </a:lnTo>
                  <a:lnTo>
                    <a:pt x="946" y="13"/>
                  </a:lnTo>
                  <a:lnTo>
                    <a:pt x="1018" y="23"/>
                  </a:lnTo>
                  <a:lnTo>
                    <a:pt x="1088" y="33"/>
                  </a:lnTo>
                  <a:lnTo>
                    <a:pt x="1157" y="47"/>
                  </a:lnTo>
                  <a:lnTo>
                    <a:pt x="1225" y="62"/>
                  </a:lnTo>
                  <a:lnTo>
                    <a:pt x="1289" y="79"/>
                  </a:lnTo>
                  <a:lnTo>
                    <a:pt x="1352" y="97"/>
                  </a:lnTo>
                  <a:lnTo>
                    <a:pt x="1413" y="117"/>
                  </a:lnTo>
                  <a:lnTo>
                    <a:pt x="1472" y="138"/>
                  </a:lnTo>
                  <a:lnTo>
                    <a:pt x="1530" y="161"/>
                  </a:lnTo>
                  <a:lnTo>
                    <a:pt x="1585" y="184"/>
                  </a:lnTo>
                  <a:lnTo>
                    <a:pt x="1636" y="209"/>
                  </a:lnTo>
                  <a:lnTo>
                    <a:pt x="1685" y="236"/>
                  </a:lnTo>
                  <a:lnTo>
                    <a:pt x="1732" y="262"/>
                  </a:lnTo>
                  <a:lnTo>
                    <a:pt x="1776" y="288"/>
                  </a:lnTo>
                  <a:lnTo>
                    <a:pt x="1816" y="315"/>
                  </a:lnTo>
                  <a:lnTo>
                    <a:pt x="1854" y="343"/>
                  </a:lnTo>
                  <a:lnTo>
                    <a:pt x="1888" y="371"/>
                  </a:lnTo>
                  <a:lnTo>
                    <a:pt x="1921" y="399"/>
                  </a:lnTo>
                  <a:lnTo>
                    <a:pt x="1949" y="427"/>
                  </a:lnTo>
                  <a:lnTo>
                    <a:pt x="1974" y="455"/>
                  </a:lnTo>
                  <a:lnTo>
                    <a:pt x="1974" y="455"/>
                  </a:lnTo>
                  <a:lnTo>
                    <a:pt x="1920" y="434"/>
                  </a:lnTo>
                  <a:lnTo>
                    <a:pt x="1864" y="412"/>
                  </a:lnTo>
                  <a:lnTo>
                    <a:pt x="1804" y="394"/>
                  </a:lnTo>
                  <a:lnTo>
                    <a:pt x="1743" y="376"/>
                  </a:lnTo>
                  <a:lnTo>
                    <a:pt x="1680" y="361"/>
                  </a:lnTo>
                  <a:lnTo>
                    <a:pt x="1614" y="348"/>
                  </a:lnTo>
                  <a:lnTo>
                    <a:pt x="1548" y="338"/>
                  </a:lnTo>
                  <a:lnTo>
                    <a:pt x="1481" y="330"/>
                  </a:lnTo>
                  <a:lnTo>
                    <a:pt x="1413" y="323"/>
                  </a:lnTo>
                  <a:lnTo>
                    <a:pt x="1344" y="320"/>
                  </a:lnTo>
                  <a:lnTo>
                    <a:pt x="1273" y="321"/>
                  </a:lnTo>
                  <a:lnTo>
                    <a:pt x="1203" y="325"/>
                  </a:lnTo>
                  <a:lnTo>
                    <a:pt x="1132" y="331"/>
                  </a:lnTo>
                  <a:lnTo>
                    <a:pt x="1061" y="341"/>
                  </a:lnTo>
                  <a:lnTo>
                    <a:pt x="990" y="356"/>
                  </a:lnTo>
                  <a:lnTo>
                    <a:pt x="954" y="364"/>
                  </a:lnTo>
                  <a:lnTo>
                    <a:pt x="919" y="374"/>
                  </a:lnTo>
                  <a:lnTo>
                    <a:pt x="885" y="384"/>
                  </a:lnTo>
                  <a:lnTo>
                    <a:pt x="850" y="396"/>
                  </a:lnTo>
                  <a:lnTo>
                    <a:pt x="815" y="409"/>
                  </a:lnTo>
                  <a:lnTo>
                    <a:pt x="781" y="424"/>
                  </a:lnTo>
                  <a:lnTo>
                    <a:pt x="746" y="439"/>
                  </a:lnTo>
                  <a:lnTo>
                    <a:pt x="711" y="455"/>
                  </a:lnTo>
                  <a:lnTo>
                    <a:pt x="678" y="472"/>
                  </a:lnTo>
                  <a:lnTo>
                    <a:pt x="645" y="490"/>
                  </a:lnTo>
                  <a:lnTo>
                    <a:pt x="612" y="510"/>
                  </a:lnTo>
                  <a:lnTo>
                    <a:pt x="579" y="531"/>
                  </a:lnTo>
                  <a:lnTo>
                    <a:pt x="546" y="554"/>
                  </a:lnTo>
                  <a:lnTo>
                    <a:pt x="515" y="577"/>
                  </a:lnTo>
                  <a:lnTo>
                    <a:pt x="484" y="602"/>
                  </a:lnTo>
                  <a:lnTo>
                    <a:pt x="452" y="629"/>
                  </a:lnTo>
                  <a:lnTo>
                    <a:pt x="421" y="657"/>
                  </a:lnTo>
                  <a:lnTo>
                    <a:pt x="391" y="685"/>
                  </a:lnTo>
                  <a:lnTo>
                    <a:pt x="361" y="716"/>
                  </a:lnTo>
                  <a:lnTo>
                    <a:pt x="333" y="747"/>
                  </a:lnTo>
                  <a:lnTo>
                    <a:pt x="304" y="780"/>
                  </a:lnTo>
                  <a:lnTo>
                    <a:pt x="277" y="815"/>
                  </a:lnTo>
                  <a:lnTo>
                    <a:pt x="249" y="851"/>
                  </a:lnTo>
                  <a:lnTo>
                    <a:pt x="223" y="889"/>
                  </a:lnTo>
                  <a:lnTo>
                    <a:pt x="198" y="929"/>
                  </a:lnTo>
                  <a:lnTo>
                    <a:pt x="172" y="970"/>
                  </a:lnTo>
                  <a:lnTo>
                    <a:pt x="149" y="1012"/>
                  </a:lnTo>
                  <a:lnTo>
                    <a:pt x="124" y="1056"/>
                  </a:lnTo>
                  <a:lnTo>
                    <a:pt x="101" y="1102"/>
                  </a:lnTo>
                  <a:lnTo>
                    <a:pt x="79" y="1150"/>
                  </a:lnTo>
                  <a:lnTo>
                    <a:pt x="58" y="1198"/>
                  </a:lnTo>
                  <a:lnTo>
                    <a:pt x="38" y="1249"/>
                  </a:lnTo>
                  <a:lnTo>
                    <a:pt x="18" y="1302"/>
                  </a:lnTo>
                  <a:lnTo>
                    <a:pt x="0" y="1357"/>
                  </a:lnTo>
                  <a:lnTo>
                    <a:pt x="0" y="118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1224140" y="3886278"/>
              <a:ext cx="3276878" cy="2971722"/>
            </a:xfrm>
            <a:custGeom>
              <a:avLst/>
              <a:gdLst/>
              <a:ahLst/>
              <a:cxnLst>
                <a:cxn ang="0">
                  <a:pos x="1377" y="130"/>
                </a:cxn>
                <a:cxn ang="0">
                  <a:pos x="1299" y="89"/>
                </a:cxn>
                <a:cxn ang="0">
                  <a:pos x="1220" y="56"/>
                </a:cxn>
                <a:cxn ang="0">
                  <a:pos x="1137" y="30"/>
                </a:cxn>
                <a:cxn ang="0">
                  <a:pos x="1052" y="11"/>
                </a:cxn>
                <a:cxn ang="0">
                  <a:pos x="966" y="2"/>
                </a:cxn>
                <a:cxn ang="0">
                  <a:pos x="880" y="0"/>
                </a:cxn>
                <a:cxn ang="0">
                  <a:pos x="794" y="5"/>
                </a:cxn>
                <a:cxn ang="0">
                  <a:pos x="708" y="18"/>
                </a:cxn>
                <a:cxn ang="0">
                  <a:pos x="624" y="40"/>
                </a:cxn>
                <a:cxn ang="0">
                  <a:pos x="543" y="69"/>
                </a:cxn>
                <a:cxn ang="0">
                  <a:pos x="466" y="107"/>
                </a:cxn>
                <a:cxn ang="0">
                  <a:pos x="391" y="155"/>
                </a:cxn>
                <a:cxn ang="0">
                  <a:pos x="322" y="210"/>
                </a:cxn>
                <a:cxn ang="0">
                  <a:pos x="258" y="272"/>
                </a:cxn>
                <a:cxn ang="0">
                  <a:pos x="200" y="345"/>
                </a:cxn>
                <a:cxn ang="0">
                  <a:pos x="149" y="426"/>
                </a:cxn>
                <a:cxn ang="0">
                  <a:pos x="124" y="472"/>
                </a:cxn>
                <a:cxn ang="0">
                  <a:pos x="83" y="568"/>
                </a:cxn>
                <a:cxn ang="0">
                  <a:pos x="48" y="667"/>
                </a:cxn>
                <a:cxn ang="0">
                  <a:pos x="23" y="769"/>
                </a:cxn>
                <a:cxn ang="0">
                  <a:pos x="7" y="875"/>
                </a:cxn>
                <a:cxn ang="0">
                  <a:pos x="0" y="982"/>
                </a:cxn>
                <a:cxn ang="0">
                  <a:pos x="2" y="1090"/>
                </a:cxn>
                <a:cxn ang="0">
                  <a:pos x="12" y="1200"/>
                </a:cxn>
                <a:cxn ang="0">
                  <a:pos x="31" y="1311"/>
                </a:cxn>
                <a:cxn ang="0">
                  <a:pos x="61" y="1420"/>
                </a:cxn>
                <a:cxn ang="0">
                  <a:pos x="101" y="1529"/>
                </a:cxn>
                <a:cxn ang="0">
                  <a:pos x="149" y="1636"/>
                </a:cxn>
                <a:cxn ang="0">
                  <a:pos x="206" y="1742"/>
                </a:cxn>
                <a:cxn ang="0">
                  <a:pos x="274" y="1844"/>
                </a:cxn>
                <a:cxn ang="0">
                  <a:pos x="353" y="1943"/>
                </a:cxn>
                <a:cxn ang="0">
                  <a:pos x="441" y="2039"/>
                </a:cxn>
                <a:cxn ang="0">
                  <a:pos x="2552" y="2085"/>
                </a:cxn>
                <a:cxn ang="0">
                  <a:pos x="2526" y="2070"/>
                </a:cxn>
                <a:cxn ang="0">
                  <a:pos x="2336" y="1955"/>
                </a:cxn>
                <a:cxn ang="0">
                  <a:pos x="2192" y="1860"/>
                </a:cxn>
                <a:cxn ang="0">
                  <a:pos x="2025" y="1748"/>
                </a:cxn>
                <a:cxn ang="0">
                  <a:pos x="1849" y="1619"/>
                </a:cxn>
                <a:cxn ang="0">
                  <a:pos x="1667" y="1477"/>
                </a:cxn>
                <a:cxn ang="0">
                  <a:pos x="1492" y="1326"/>
                </a:cxn>
                <a:cxn ang="0">
                  <a:pos x="1410" y="1246"/>
                </a:cxn>
                <a:cxn ang="0">
                  <a:pos x="1332" y="1167"/>
                </a:cxn>
                <a:cxn ang="0">
                  <a:pos x="1261" y="1086"/>
                </a:cxn>
                <a:cxn ang="0">
                  <a:pos x="1195" y="1004"/>
                </a:cxn>
                <a:cxn ang="0">
                  <a:pos x="1139" y="923"/>
                </a:cxn>
                <a:cxn ang="0">
                  <a:pos x="1091" y="840"/>
                </a:cxn>
                <a:cxn ang="0">
                  <a:pos x="1055" y="761"/>
                </a:cxn>
                <a:cxn ang="0">
                  <a:pos x="1030" y="680"/>
                </a:cxn>
                <a:cxn ang="0">
                  <a:pos x="1017" y="602"/>
                </a:cxn>
                <a:cxn ang="0">
                  <a:pos x="1019" y="527"/>
                </a:cxn>
                <a:cxn ang="0">
                  <a:pos x="1028" y="470"/>
                </a:cxn>
                <a:cxn ang="0">
                  <a:pos x="1040" y="434"/>
                </a:cxn>
                <a:cxn ang="0">
                  <a:pos x="1057" y="398"/>
                </a:cxn>
                <a:cxn ang="0">
                  <a:pos x="1076" y="363"/>
                </a:cxn>
                <a:cxn ang="0">
                  <a:pos x="1101" y="330"/>
                </a:cxn>
                <a:cxn ang="0">
                  <a:pos x="1131" y="295"/>
                </a:cxn>
                <a:cxn ang="0">
                  <a:pos x="1182" y="248"/>
                </a:cxn>
                <a:cxn ang="0">
                  <a:pos x="1269" y="186"/>
                </a:cxn>
                <a:cxn ang="0">
                  <a:pos x="1377" y="130"/>
                </a:cxn>
              </a:cxnLst>
              <a:rect l="0" t="0" r="r" b="b"/>
              <a:pathLst>
                <a:path w="2552" h="2085">
                  <a:moveTo>
                    <a:pt x="1377" y="130"/>
                  </a:moveTo>
                  <a:lnTo>
                    <a:pt x="1377" y="130"/>
                  </a:lnTo>
                  <a:lnTo>
                    <a:pt x="1339" y="109"/>
                  </a:lnTo>
                  <a:lnTo>
                    <a:pt x="1299" y="89"/>
                  </a:lnTo>
                  <a:lnTo>
                    <a:pt x="1260" y="73"/>
                  </a:lnTo>
                  <a:lnTo>
                    <a:pt x="1220" y="56"/>
                  </a:lnTo>
                  <a:lnTo>
                    <a:pt x="1179" y="43"/>
                  </a:lnTo>
                  <a:lnTo>
                    <a:pt x="1137" y="30"/>
                  </a:lnTo>
                  <a:lnTo>
                    <a:pt x="1094" y="20"/>
                  </a:lnTo>
                  <a:lnTo>
                    <a:pt x="1052" y="11"/>
                  </a:lnTo>
                  <a:lnTo>
                    <a:pt x="1009" y="7"/>
                  </a:lnTo>
                  <a:lnTo>
                    <a:pt x="966" y="2"/>
                  </a:lnTo>
                  <a:lnTo>
                    <a:pt x="923" y="0"/>
                  </a:lnTo>
                  <a:lnTo>
                    <a:pt x="880" y="0"/>
                  </a:lnTo>
                  <a:lnTo>
                    <a:pt x="837" y="2"/>
                  </a:lnTo>
                  <a:lnTo>
                    <a:pt x="794" y="5"/>
                  </a:lnTo>
                  <a:lnTo>
                    <a:pt x="751" y="10"/>
                  </a:lnTo>
                  <a:lnTo>
                    <a:pt x="708" y="18"/>
                  </a:lnTo>
                  <a:lnTo>
                    <a:pt x="667" y="28"/>
                  </a:lnTo>
                  <a:lnTo>
                    <a:pt x="624" y="40"/>
                  </a:lnTo>
                  <a:lnTo>
                    <a:pt x="584" y="54"/>
                  </a:lnTo>
                  <a:lnTo>
                    <a:pt x="543" y="69"/>
                  </a:lnTo>
                  <a:lnTo>
                    <a:pt x="504" y="87"/>
                  </a:lnTo>
                  <a:lnTo>
                    <a:pt x="466" y="107"/>
                  </a:lnTo>
                  <a:lnTo>
                    <a:pt x="428" y="130"/>
                  </a:lnTo>
                  <a:lnTo>
                    <a:pt x="391" y="155"/>
                  </a:lnTo>
                  <a:lnTo>
                    <a:pt x="357" y="182"/>
                  </a:lnTo>
                  <a:lnTo>
                    <a:pt x="322" y="210"/>
                  </a:lnTo>
                  <a:lnTo>
                    <a:pt x="289" y="241"/>
                  </a:lnTo>
                  <a:lnTo>
                    <a:pt x="258" y="272"/>
                  </a:lnTo>
                  <a:lnTo>
                    <a:pt x="228" y="309"/>
                  </a:lnTo>
                  <a:lnTo>
                    <a:pt x="200" y="345"/>
                  </a:lnTo>
                  <a:lnTo>
                    <a:pt x="173" y="385"/>
                  </a:lnTo>
                  <a:lnTo>
                    <a:pt x="149" y="426"/>
                  </a:lnTo>
                  <a:lnTo>
                    <a:pt x="149" y="426"/>
                  </a:lnTo>
                  <a:lnTo>
                    <a:pt x="124" y="472"/>
                  </a:lnTo>
                  <a:lnTo>
                    <a:pt x="102" y="520"/>
                  </a:lnTo>
                  <a:lnTo>
                    <a:pt x="83" y="568"/>
                  </a:lnTo>
                  <a:lnTo>
                    <a:pt x="64" y="617"/>
                  </a:lnTo>
                  <a:lnTo>
                    <a:pt x="48" y="667"/>
                  </a:lnTo>
                  <a:lnTo>
                    <a:pt x="35" y="718"/>
                  </a:lnTo>
                  <a:lnTo>
                    <a:pt x="23" y="769"/>
                  </a:lnTo>
                  <a:lnTo>
                    <a:pt x="15" y="822"/>
                  </a:lnTo>
                  <a:lnTo>
                    <a:pt x="7" y="875"/>
                  </a:lnTo>
                  <a:lnTo>
                    <a:pt x="2" y="928"/>
                  </a:lnTo>
                  <a:lnTo>
                    <a:pt x="0" y="982"/>
                  </a:lnTo>
                  <a:lnTo>
                    <a:pt x="0" y="1035"/>
                  </a:lnTo>
                  <a:lnTo>
                    <a:pt x="2" y="1090"/>
                  </a:lnTo>
                  <a:lnTo>
                    <a:pt x="5" y="1146"/>
                  </a:lnTo>
                  <a:lnTo>
                    <a:pt x="12" y="1200"/>
                  </a:lnTo>
                  <a:lnTo>
                    <a:pt x="22" y="1255"/>
                  </a:lnTo>
                  <a:lnTo>
                    <a:pt x="31" y="1311"/>
                  </a:lnTo>
                  <a:lnTo>
                    <a:pt x="46" y="1365"/>
                  </a:lnTo>
                  <a:lnTo>
                    <a:pt x="61" y="1420"/>
                  </a:lnTo>
                  <a:lnTo>
                    <a:pt x="79" y="1474"/>
                  </a:lnTo>
                  <a:lnTo>
                    <a:pt x="101" y="1529"/>
                  </a:lnTo>
                  <a:lnTo>
                    <a:pt x="124" y="1583"/>
                  </a:lnTo>
                  <a:lnTo>
                    <a:pt x="149" y="1636"/>
                  </a:lnTo>
                  <a:lnTo>
                    <a:pt x="177" y="1689"/>
                  </a:lnTo>
                  <a:lnTo>
                    <a:pt x="206" y="1742"/>
                  </a:lnTo>
                  <a:lnTo>
                    <a:pt x="239" y="1793"/>
                  </a:lnTo>
                  <a:lnTo>
                    <a:pt x="274" y="1844"/>
                  </a:lnTo>
                  <a:lnTo>
                    <a:pt x="312" y="1895"/>
                  </a:lnTo>
                  <a:lnTo>
                    <a:pt x="353" y="1943"/>
                  </a:lnTo>
                  <a:lnTo>
                    <a:pt x="396" y="1993"/>
                  </a:lnTo>
                  <a:lnTo>
                    <a:pt x="441" y="2039"/>
                  </a:lnTo>
                  <a:lnTo>
                    <a:pt x="489" y="2085"/>
                  </a:lnTo>
                  <a:lnTo>
                    <a:pt x="2552" y="2085"/>
                  </a:lnTo>
                  <a:lnTo>
                    <a:pt x="2552" y="2085"/>
                  </a:lnTo>
                  <a:lnTo>
                    <a:pt x="2526" y="2070"/>
                  </a:lnTo>
                  <a:lnTo>
                    <a:pt x="2450" y="2026"/>
                  </a:lnTo>
                  <a:lnTo>
                    <a:pt x="2336" y="1955"/>
                  </a:lnTo>
                  <a:lnTo>
                    <a:pt x="2266" y="1910"/>
                  </a:lnTo>
                  <a:lnTo>
                    <a:pt x="2192" y="1860"/>
                  </a:lnTo>
                  <a:lnTo>
                    <a:pt x="2111" y="1808"/>
                  </a:lnTo>
                  <a:lnTo>
                    <a:pt x="2025" y="1748"/>
                  </a:lnTo>
                  <a:lnTo>
                    <a:pt x="1938" y="1685"/>
                  </a:lnTo>
                  <a:lnTo>
                    <a:pt x="1849" y="1619"/>
                  </a:lnTo>
                  <a:lnTo>
                    <a:pt x="1758" y="1550"/>
                  </a:lnTo>
                  <a:lnTo>
                    <a:pt x="1667" y="1477"/>
                  </a:lnTo>
                  <a:lnTo>
                    <a:pt x="1578" y="1403"/>
                  </a:lnTo>
                  <a:lnTo>
                    <a:pt x="1492" y="1326"/>
                  </a:lnTo>
                  <a:lnTo>
                    <a:pt x="1451" y="1286"/>
                  </a:lnTo>
                  <a:lnTo>
                    <a:pt x="1410" y="1246"/>
                  </a:lnTo>
                  <a:lnTo>
                    <a:pt x="1370" y="1207"/>
                  </a:lnTo>
                  <a:lnTo>
                    <a:pt x="1332" y="1167"/>
                  </a:lnTo>
                  <a:lnTo>
                    <a:pt x="1296" y="1126"/>
                  </a:lnTo>
                  <a:lnTo>
                    <a:pt x="1261" y="1086"/>
                  </a:lnTo>
                  <a:lnTo>
                    <a:pt x="1227" y="1045"/>
                  </a:lnTo>
                  <a:lnTo>
                    <a:pt x="1195" y="1004"/>
                  </a:lnTo>
                  <a:lnTo>
                    <a:pt x="1167" y="962"/>
                  </a:lnTo>
                  <a:lnTo>
                    <a:pt x="1139" y="923"/>
                  </a:lnTo>
                  <a:lnTo>
                    <a:pt x="1114" y="881"/>
                  </a:lnTo>
                  <a:lnTo>
                    <a:pt x="1091" y="840"/>
                  </a:lnTo>
                  <a:lnTo>
                    <a:pt x="1071" y="801"/>
                  </a:lnTo>
                  <a:lnTo>
                    <a:pt x="1055" y="761"/>
                  </a:lnTo>
                  <a:lnTo>
                    <a:pt x="1042" y="720"/>
                  </a:lnTo>
                  <a:lnTo>
                    <a:pt x="1030" y="680"/>
                  </a:lnTo>
                  <a:lnTo>
                    <a:pt x="1022" y="642"/>
                  </a:lnTo>
                  <a:lnTo>
                    <a:pt x="1017" y="602"/>
                  </a:lnTo>
                  <a:lnTo>
                    <a:pt x="1015" y="565"/>
                  </a:lnTo>
                  <a:lnTo>
                    <a:pt x="1019" y="527"/>
                  </a:lnTo>
                  <a:lnTo>
                    <a:pt x="1023" y="489"/>
                  </a:lnTo>
                  <a:lnTo>
                    <a:pt x="1028" y="470"/>
                  </a:lnTo>
                  <a:lnTo>
                    <a:pt x="1033" y="452"/>
                  </a:lnTo>
                  <a:lnTo>
                    <a:pt x="1040" y="434"/>
                  </a:lnTo>
                  <a:lnTo>
                    <a:pt x="1048" y="416"/>
                  </a:lnTo>
                  <a:lnTo>
                    <a:pt x="1057" y="398"/>
                  </a:lnTo>
                  <a:lnTo>
                    <a:pt x="1066" y="381"/>
                  </a:lnTo>
                  <a:lnTo>
                    <a:pt x="1076" y="363"/>
                  </a:lnTo>
                  <a:lnTo>
                    <a:pt x="1088" y="347"/>
                  </a:lnTo>
                  <a:lnTo>
                    <a:pt x="1101" y="330"/>
                  </a:lnTo>
                  <a:lnTo>
                    <a:pt x="1116" y="312"/>
                  </a:lnTo>
                  <a:lnTo>
                    <a:pt x="1131" y="295"/>
                  </a:lnTo>
                  <a:lnTo>
                    <a:pt x="1147" y="281"/>
                  </a:lnTo>
                  <a:lnTo>
                    <a:pt x="1182" y="248"/>
                  </a:lnTo>
                  <a:lnTo>
                    <a:pt x="1223" y="216"/>
                  </a:lnTo>
                  <a:lnTo>
                    <a:pt x="1269" y="186"/>
                  </a:lnTo>
                  <a:lnTo>
                    <a:pt x="1321" y="158"/>
                  </a:lnTo>
                  <a:lnTo>
                    <a:pt x="1377" y="130"/>
                  </a:lnTo>
                  <a:lnTo>
                    <a:pt x="1377" y="130"/>
                  </a:lnTo>
                  <a:close/>
                </a:path>
              </a:pathLst>
            </a:custGeom>
            <a:solidFill>
              <a:schemeClr val="bg1">
                <a:lumMod val="95000"/>
                <a:alpha val="34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876334" y="3993581"/>
              <a:ext cx="1720276" cy="2864419"/>
            </a:xfrm>
            <a:custGeom>
              <a:avLst/>
              <a:gdLst/>
              <a:ahLst/>
              <a:cxnLst>
                <a:cxn ang="0">
                  <a:pos x="99" y="1804"/>
                </a:cxn>
                <a:cxn ang="0">
                  <a:pos x="57" y="1647"/>
                </a:cxn>
                <a:cxn ang="0">
                  <a:pos x="29" y="1492"/>
                </a:cxn>
                <a:cxn ang="0">
                  <a:pos x="10" y="1342"/>
                </a:cxn>
                <a:cxn ang="0">
                  <a:pos x="1" y="1195"/>
                </a:cxn>
                <a:cxn ang="0">
                  <a:pos x="1" y="1054"/>
                </a:cxn>
                <a:cxn ang="0">
                  <a:pos x="10" y="919"/>
                </a:cxn>
                <a:cxn ang="0">
                  <a:pos x="26" y="790"/>
                </a:cxn>
                <a:cxn ang="0">
                  <a:pos x="49" y="667"/>
                </a:cxn>
                <a:cxn ang="0">
                  <a:pos x="81" y="553"/>
                </a:cxn>
                <a:cxn ang="0">
                  <a:pos x="117" y="445"/>
                </a:cxn>
                <a:cxn ang="0">
                  <a:pos x="158" y="346"/>
                </a:cxn>
                <a:cxn ang="0">
                  <a:pos x="203" y="255"/>
                </a:cxn>
                <a:cxn ang="0">
                  <a:pos x="254" y="176"/>
                </a:cxn>
                <a:cxn ang="0">
                  <a:pos x="307" y="105"/>
                </a:cxn>
                <a:cxn ang="0">
                  <a:pos x="363" y="47"/>
                </a:cxn>
                <a:cxn ang="0">
                  <a:pos x="421" y="0"/>
                </a:cxn>
                <a:cxn ang="0">
                  <a:pos x="383" y="57"/>
                </a:cxn>
                <a:cxn ang="0">
                  <a:pos x="317" y="176"/>
                </a:cxn>
                <a:cxn ang="0">
                  <a:pos x="265" y="298"/>
                </a:cxn>
                <a:cxn ang="0">
                  <a:pos x="226" y="421"/>
                </a:cxn>
                <a:cxn ang="0">
                  <a:pos x="201" y="544"/>
                </a:cxn>
                <a:cxn ang="0">
                  <a:pos x="188" y="667"/>
                </a:cxn>
                <a:cxn ang="0">
                  <a:pos x="186" y="789"/>
                </a:cxn>
                <a:cxn ang="0">
                  <a:pos x="196" y="911"/>
                </a:cxn>
                <a:cxn ang="0">
                  <a:pos x="219" y="1030"/>
                </a:cxn>
                <a:cxn ang="0">
                  <a:pos x="252" y="1147"/>
                </a:cxn>
                <a:cxn ang="0">
                  <a:pos x="297" y="1261"/>
                </a:cxn>
                <a:cxn ang="0">
                  <a:pos x="351" y="1371"/>
                </a:cxn>
                <a:cxn ang="0">
                  <a:pos x="416" y="1477"/>
                </a:cxn>
                <a:cxn ang="0">
                  <a:pos x="492" y="1578"/>
                </a:cxn>
                <a:cxn ang="0">
                  <a:pos x="576" y="1674"/>
                </a:cxn>
                <a:cxn ang="0">
                  <a:pos x="668" y="1763"/>
                </a:cxn>
                <a:cxn ang="0">
                  <a:pos x="99" y="1804"/>
                </a:cxn>
              </a:cxnLst>
              <a:rect l="0" t="0" r="r" b="b"/>
              <a:pathLst>
                <a:path w="718" h="1804">
                  <a:moveTo>
                    <a:pt x="99" y="1804"/>
                  </a:moveTo>
                  <a:lnTo>
                    <a:pt x="99" y="1804"/>
                  </a:lnTo>
                  <a:lnTo>
                    <a:pt x="77" y="1725"/>
                  </a:lnTo>
                  <a:lnTo>
                    <a:pt x="57" y="1647"/>
                  </a:lnTo>
                  <a:lnTo>
                    <a:pt x="43" y="1570"/>
                  </a:lnTo>
                  <a:lnTo>
                    <a:pt x="29" y="1492"/>
                  </a:lnTo>
                  <a:lnTo>
                    <a:pt x="18" y="1416"/>
                  </a:lnTo>
                  <a:lnTo>
                    <a:pt x="10" y="1342"/>
                  </a:lnTo>
                  <a:lnTo>
                    <a:pt x="5" y="1267"/>
                  </a:lnTo>
                  <a:lnTo>
                    <a:pt x="1" y="1195"/>
                  </a:lnTo>
                  <a:lnTo>
                    <a:pt x="0" y="1124"/>
                  </a:lnTo>
                  <a:lnTo>
                    <a:pt x="1" y="1054"/>
                  </a:lnTo>
                  <a:lnTo>
                    <a:pt x="5" y="987"/>
                  </a:lnTo>
                  <a:lnTo>
                    <a:pt x="10" y="919"/>
                  </a:lnTo>
                  <a:lnTo>
                    <a:pt x="18" y="853"/>
                  </a:lnTo>
                  <a:lnTo>
                    <a:pt x="26" y="790"/>
                  </a:lnTo>
                  <a:lnTo>
                    <a:pt x="38" y="728"/>
                  </a:lnTo>
                  <a:lnTo>
                    <a:pt x="49" y="667"/>
                  </a:lnTo>
                  <a:lnTo>
                    <a:pt x="64" y="609"/>
                  </a:lnTo>
                  <a:lnTo>
                    <a:pt x="81" y="553"/>
                  </a:lnTo>
                  <a:lnTo>
                    <a:pt x="97" y="496"/>
                  </a:lnTo>
                  <a:lnTo>
                    <a:pt x="117" y="445"/>
                  </a:lnTo>
                  <a:lnTo>
                    <a:pt x="137" y="394"/>
                  </a:lnTo>
                  <a:lnTo>
                    <a:pt x="158" y="346"/>
                  </a:lnTo>
                  <a:lnTo>
                    <a:pt x="180" y="300"/>
                  </a:lnTo>
                  <a:lnTo>
                    <a:pt x="203" y="255"/>
                  </a:lnTo>
                  <a:lnTo>
                    <a:pt x="227" y="214"/>
                  </a:lnTo>
                  <a:lnTo>
                    <a:pt x="254" y="176"/>
                  </a:lnTo>
                  <a:lnTo>
                    <a:pt x="280" y="140"/>
                  </a:lnTo>
                  <a:lnTo>
                    <a:pt x="307" y="105"/>
                  </a:lnTo>
                  <a:lnTo>
                    <a:pt x="335" y="76"/>
                  </a:lnTo>
                  <a:lnTo>
                    <a:pt x="363" y="47"/>
                  </a:lnTo>
                  <a:lnTo>
                    <a:pt x="391" y="21"/>
                  </a:lnTo>
                  <a:lnTo>
                    <a:pt x="421" y="0"/>
                  </a:lnTo>
                  <a:lnTo>
                    <a:pt x="421" y="0"/>
                  </a:lnTo>
                  <a:lnTo>
                    <a:pt x="383" y="57"/>
                  </a:lnTo>
                  <a:lnTo>
                    <a:pt x="348" y="117"/>
                  </a:lnTo>
                  <a:lnTo>
                    <a:pt x="317" y="176"/>
                  </a:lnTo>
                  <a:lnTo>
                    <a:pt x="289" y="237"/>
                  </a:lnTo>
                  <a:lnTo>
                    <a:pt x="265" y="298"/>
                  </a:lnTo>
                  <a:lnTo>
                    <a:pt x="244" y="359"/>
                  </a:lnTo>
                  <a:lnTo>
                    <a:pt x="226" y="421"/>
                  </a:lnTo>
                  <a:lnTo>
                    <a:pt x="213" y="482"/>
                  </a:lnTo>
                  <a:lnTo>
                    <a:pt x="201" y="544"/>
                  </a:lnTo>
                  <a:lnTo>
                    <a:pt x="193" y="605"/>
                  </a:lnTo>
                  <a:lnTo>
                    <a:pt x="188" y="667"/>
                  </a:lnTo>
                  <a:lnTo>
                    <a:pt x="185" y="728"/>
                  </a:lnTo>
                  <a:lnTo>
                    <a:pt x="186" y="789"/>
                  </a:lnTo>
                  <a:lnTo>
                    <a:pt x="189" y="850"/>
                  </a:lnTo>
                  <a:lnTo>
                    <a:pt x="196" y="911"/>
                  </a:lnTo>
                  <a:lnTo>
                    <a:pt x="206" y="970"/>
                  </a:lnTo>
                  <a:lnTo>
                    <a:pt x="219" y="1030"/>
                  </a:lnTo>
                  <a:lnTo>
                    <a:pt x="234" y="1089"/>
                  </a:lnTo>
                  <a:lnTo>
                    <a:pt x="252" y="1147"/>
                  </a:lnTo>
                  <a:lnTo>
                    <a:pt x="274" y="1205"/>
                  </a:lnTo>
                  <a:lnTo>
                    <a:pt x="297" y="1261"/>
                  </a:lnTo>
                  <a:lnTo>
                    <a:pt x="323" y="1317"/>
                  </a:lnTo>
                  <a:lnTo>
                    <a:pt x="351" y="1371"/>
                  </a:lnTo>
                  <a:lnTo>
                    <a:pt x="383" y="1424"/>
                  </a:lnTo>
                  <a:lnTo>
                    <a:pt x="416" y="1477"/>
                  </a:lnTo>
                  <a:lnTo>
                    <a:pt x="452" y="1528"/>
                  </a:lnTo>
                  <a:lnTo>
                    <a:pt x="492" y="1578"/>
                  </a:lnTo>
                  <a:lnTo>
                    <a:pt x="531" y="1626"/>
                  </a:lnTo>
                  <a:lnTo>
                    <a:pt x="576" y="1674"/>
                  </a:lnTo>
                  <a:lnTo>
                    <a:pt x="620" y="1718"/>
                  </a:lnTo>
                  <a:lnTo>
                    <a:pt x="668" y="1763"/>
                  </a:lnTo>
                  <a:lnTo>
                    <a:pt x="718" y="1804"/>
                  </a:lnTo>
                  <a:lnTo>
                    <a:pt x="99" y="1804"/>
                  </a:lnTo>
                  <a:lnTo>
                    <a:pt x="99" y="1804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37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sp>
        <p:nvSpPr>
          <p:cNvPr id="11" name="Freeform 28"/>
          <p:cNvSpPr>
            <a:spLocks/>
          </p:cNvSpPr>
          <p:nvPr/>
        </p:nvSpPr>
        <p:spPr bwMode="auto">
          <a:xfrm>
            <a:off x="7543800" y="0"/>
            <a:ext cx="1600200" cy="2209800"/>
          </a:xfrm>
          <a:custGeom>
            <a:avLst/>
            <a:gdLst>
              <a:gd name="T0" fmla="*/ 0 w 1432"/>
              <a:gd name="T1" fmla="*/ 0 h 3492"/>
              <a:gd name="T2" fmla="*/ 2147483646 w 1432"/>
              <a:gd name="T3" fmla="*/ 0 h 3492"/>
              <a:gd name="T4" fmla="*/ 2147483646 w 1432"/>
              <a:gd name="T5" fmla="*/ 2147483646 h 3492"/>
              <a:gd name="T6" fmla="*/ 2147483646 w 1432"/>
              <a:gd name="T7" fmla="*/ 2147483646 h 3492"/>
              <a:gd name="T8" fmla="*/ 2147483646 w 1432"/>
              <a:gd name="T9" fmla="*/ 2147483646 h 3492"/>
              <a:gd name="T10" fmla="*/ 2147483646 w 1432"/>
              <a:gd name="T11" fmla="*/ 2147483646 h 3492"/>
              <a:gd name="T12" fmla="*/ 2147483646 w 1432"/>
              <a:gd name="T13" fmla="*/ 2147483646 h 3492"/>
              <a:gd name="T14" fmla="*/ 2147483646 w 1432"/>
              <a:gd name="T15" fmla="*/ 2147483646 h 3492"/>
              <a:gd name="T16" fmla="*/ 2147483646 w 1432"/>
              <a:gd name="T17" fmla="*/ 2147483646 h 3492"/>
              <a:gd name="T18" fmla="*/ 2147483646 w 1432"/>
              <a:gd name="T19" fmla="*/ 2147483646 h 3492"/>
              <a:gd name="T20" fmla="*/ 2147483646 w 1432"/>
              <a:gd name="T21" fmla="*/ 2147483646 h 3492"/>
              <a:gd name="T22" fmla="*/ 2147483646 w 1432"/>
              <a:gd name="T23" fmla="*/ 2147483646 h 3492"/>
              <a:gd name="T24" fmla="*/ 2147483646 w 1432"/>
              <a:gd name="T25" fmla="*/ 2147483646 h 3492"/>
              <a:gd name="T26" fmla="*/ 2147483646 w 1432"/>
              <a:gd name="T27" fmla="*/ 2147483646 h 3492"/>
              <a:gd name="T28" fmla="*/ 2147483646 w 1432"/>
              <a:gd name="T29" fmla="*/ 2147483646 h 3492"/>
              <a:gd name="T30" fmla="*/ 2147483646 w 1432"/>
              <a:gd name="T31" fmla="*/ 2147483646 h 3492"/>
              <a:gd name="T32" fmla="*/ 2147483646 w 1432"/>
              <a:gd name="T33" fmla="*/ 2147483646 h 3492"/>
              <a:gd name="T34" fmla="*/ 2147483646 w 1432"/>
              <a:gd name="T35" fmla="*/ 2147483646 h 3492"/>
              <a:gd name="T36" fmla="*/ 2147483646 w 1432"/>
              <a:gd name="T37" fmla="*/ 2147483646 h 3492"/>
              <a:gd name="T38" fmla="*/ 2147483646 w 1432"/>
              <a:gd name="T39" fmla="*/ 2147483646 h 3492"/>
              <a:gd name="T40" fmla="*/ 2147483646 w 1432"/>
              <a:gd name="T41" fmla="*/ 2147483646 h 3492"/>
              <a:gd name="T42" fmla="*/ 2147483646 w 1432"/>
              <a:gd name="T43" fmla="*/ 2147483646 h 3492"/>
              <a:gd name="T44" fmla="*/ 2147483646 w 1432"/>
              <a:gd name="T45" fmla="*/ 2147483646 h 3492"/>
              <a:gd name="T46" fmla="*/ 2147483646 w 1432"/>
              <a:gd name="T47" fmla="*/ 2147483646 h 3492"/>
              <a:gd name="T48" fmla="*/ 2147483646 w 1432"/>
              <a:gd name="T49" fmla="*/ 2147483646 h 3492"/>
              <a:gd name="T50" fmla="*/ 2147483646 w 1432"/>
              <a:gd name="T51" fmla="*/ 2147483646 h 3492"/>
              <a:gd name="T52" fmla="*/ 2147483646 w 1432"/>
              <a:gd name="T53" fmla="*/ 2147483646 h 3492"/>
              <a:gd name="T54" fmla="*/ 2147483646 w 1432"/>
              <a:gd name="T55" fmla="*/ 2147483646 h 3492"/>
              <a:gd name="T56" fmla="*/ 2147483646 w 1432"/>
              <a:gd name="T57" fmla="*/ 2147483646 h 3492"/>
              <a:gd name="T58" fmla="*/ 2147483646 w 1432"/>
              <a:gd name="T59" fmla="*/ 2147483646 h 3492"/>
              <a:gd name="T60" fmla="*/ 2147483646 w 1432"/>
              <a:gd name="T61" fmla="*/ 2147483646 h 3492"/>
              <a:gd name="T62" fmla="*/ 2147483646 w 1432"/>
              <a:gd name="T63" fmla="*/ 2147483646 h 3492"/>
              <a:gd name="T64" fmla="*/ 2147483646 w 1432"/>
              <a:gd name="T65" fmla="*/ 2147483646 h 3492"/>
              <a:gd name="T66" fmla="*/ 2147483646 w 1432"/>
              <a:gd name="T67" fmla="*/ 2147483646 h 3492"/>
              <a:gd name="T68" fmla="*/ 0 w 1432"/>
              <a:gd name="T69" fmla="*/ 0 h 349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432" h="3492">
                <a:moveTo>
                  <a:pt x="0" y="0"/>
                </a:moveTo>
                <a:lnTo>
                  <a:pt x="1432" y="0"/>
                </a:lnTo>
                <a:lnTo>
                  <a:pt x="1432" y="3492"/>
                </a:lnTo>
                <a:lnTo>
                  <a:pt x="1419" y="3252"/>
                </a:lnTo>
                <a:lnTo>
                  <a:pt x="1406" y="3024"/>
                </a:lnTo>
                <a:lnTo>
                  <a:pt x="1393" y="2807"/>
                </a:lnTo>
                <a:lnTo>
                  <a:pt x="1379" y="2601"/>
                </a:lnTo>
                <a:lnTo>
                  <a:pt x="1364" y="2407"/>
                </a:lnTo>
                <a:lnTo>
                  <a:pt x="1348" y="2222"/>
                </a:lnTo>
                <a:lnTo>
                  <a:pt x="1330" y="2047"/>
                </a:lnTo>
                <a:lnTo>
                  <a:pt x="1311" y="1881"/>
                </a:lnTo>
                <a:lnTo>
                  <a:pt x="1291" y="1726"/>
                </a:lnTo>
                <a:lnTo>
                  <a:pt x="1268" y="1580"/>
                </a:lnTo>
                <a:lnTo>
                  <a:pt x="1245" y="1442"/>
                </a:lnTo>
                <a:lnTo>
                  <a:pt x="1218" y="1313"/>
                </a:lnTo>
                <a:lnTo>
                  <a:pt x="1190" y="1192"/>
                </a:lnTo>
                <a:lnTo>
                  <a:pt x="1158" y="1078"/>
                </a:lnTo>
                <a:lnTo>
                  <a:pt x="1125" y="973"/>
                </a:lnTo>
                <a:lnTo>
                  <a:pt x="1089" y="873"/>
                </a:lnTo>
                <a:lnTo>
                  <a:pt x="1049" y="781"/>
                </a:lnTo>
                <a:lnTo>
                  <a:pt x="1007" y="696"/>
                </a:lnTo>
                <a:lnTo>
                  <a:pt x="962" y="617"/>
                </a:lnTo>
                <a:lnTo>
                  <a:pt x="913" y="544"/>
                </a:lnTo>
                <a:lnTo>
                  <a:pt x="860" y="475"/>
                </a:lnTo>
                <a:lnTo>
                  <a:pt x="804" y="413"/>
                </a:lnTo>
                <a:lnTo>
                  <a:pt x="744" y="354"/>
                </a:lnTo>
                <a:lnTo>
                  <a:pt x="680" y="301"/>
                </a:lnTo>
                <a:lnTo>
                  <a:pt x="611" y="252"/>
                </a:lnTo>
                <a:lnTo>
                  <a:pt x="539" y="206"/>
                </a:lnTo>
                <a:lnTo>
                  <a:pt x="461" y="165"/>
                </a:lnTo>
                <a:lnTo>
                  <a:pt x="379" y="128"/>
                </a:lnTo>
                <a:lnTo>
                  <a:pt x="292" y="92"/>
                </a:lnTo>
                <a:lnTo>
                  <a:pt x="200" y="59"/>
                </a:lnTo>
                <a:lnTo>
                  <a:pt x="103" y="2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3733800" y="5715000"/>
            <a:ext cx="5029200" cy="762000"/>
          </a:xfrm>
          <a:custGeom>
            <a:avLst/>
            <a:gdLst/>
            <a:ahLst/>
            <a:cxnLst>
              <a:cxn ang="0">
                <a:pos x="17264" y="180"/>
              </a:cxn>
              <a:cxn ang="0">
                <a:pos x="16706" y="689"/>
              </a:cxn>
              <a:cxn ang="0">
                <a:pos x="15959" y="1141"/>
              </a:cxn>
              <a:cxn ang="0">
                <a:pos x="15050" y="1535"/>
              </a:cxn>
              <a:cxn ang="0">
                <a:pos x="14003" y="1871"/>
              </a:cxn>
              <a:cxn ang="0">
                <a:pos x="12844" y="2151"/>
              </a:cxn>
              <a:cxn ang="0">
                <a:pos x="11599" y="2374"/>
              </a:cxn>
              <a:cxn ang="0">
                <a:pos x="10294" y="2540"/>
              </a:cxn>
              <a:cxn ang="0">
                <a:pos x="8951" y="2649"/>
              </a:cxn>
              <a:cxn ang="0">
                <a:pos x="7599" y="2704"/>
              </a:cxn>
              <a:cxn ang="0">
                <a:pos x="6264" y="2702"/>
              </a:cxn>
              <a:cxn ang="0">
                <a:pos x="4968" y="2645"/>
              </a:cxn>
              <a:cxn ang="0">
                <a:pos x="3740" y="2534"/>
              </a:cxn>
              <a:cxn ang="0">
                <a:pos x="2603" y="2367"/>
              </a:cxn>
              <a:cxn ang="0">
                <a:pos x="1584" y="2147"/>
              </a:cxn>
              <a:cxn ang="0">
                <a:pos x="708" y="1871"/>
              </a:cxn>
              <a:cxn ang="0">
                <a:pos x="0" y="1543"/>
              </a:cxn>
              <a:cxn ang="0">
                <a:pos x="341" y="1635"/>
              </a:cxn>
              <a:cxn ang="0">
                <a:pos x="1155" y="1920"/>
              </a:cxn>
              <a:cxn ang="0">
                <a:pos x="2121" y="2151"/>
              </a:cxn>
              <a:cxn ang="0">
                <a:pos x="3215" y="2331"/>
              </a:cxn>
              <a:cxn ang="0">
                <a:pos x="4413" y="2457"/>
              </a:cxn>
              <a:cxn ang="0">
                <a:pos x="5686" y="2531"/>
              </a:cxn>
              <a:cxn ang="0">
                <a:pos x="7011" y="2550"/>
              </a:cxn>
              <a:cxn ang="0">
                <a:pos x="8361" y="2515"/>
              </a:cxn>
              <a:cxn ang="0">
                <a:pos x="9712" y="2426"/>
              </a:cxn>
              <a:cxn ang="0">
                <a:pos x="11037" y="2283"/>
              </a:cxn>
              <a:cxn ang="0">
                <a:pos x="12311" y="2084"/>
              </a:cxn>
              <a:cxn ang="0">
                <a:pos x="13509" y="1831"/>
              </a:cxn>
              <a:cxn ang="0">
                <a:pos x="14604" y="1522"/>
              </a:cxn>
              <a:cxn ang="0">
                <a:pos x="15571" y="1158"/>
              </a:cxn>
              <a:cxn ang="0">
                <a:pos x="16386" y="737"/>
              </a:cxn>
              <a:cxn ang="0">
                <a:pos x="17021" y="260"/>
              </a:cxn>
            </a:cxnLst>
            <a:rect l="0" t="0" r="r" b="b"/>
            <a:pathLst>
              <a:path w="17264" h="2710">
                <a:moveTo>
                  <a:pt x="17264" y="0"/>
                </a:moveTo>
                <a:lnTo>
                  <a:pt x="17264" y="180"/>
                </a:lnTo>
                <a:lnTo>
                  <a:pt x="17010" y="442"/>
                </a:lnTo>
                <a:lnTo>
                  <a:pt x="16706" y="689"/>
                </a:lnTo>
                <a:lnTo>
                  <a:pt x="16354" y="923"/>
                </a:lnTo>
                <a:lnTo>
                  <a:pt x="15959" y="1141"/>
                </a:lnTo>
                <a:lnTo>
                  <a:pt x="15524" y="1345"/>
                </a:lnTo>
                <a:lnTo>
                  <a:pt x="15050" y="1535"/>
                </a:lnTo>
                <a:lnTo>
                  <a:pt x="14543" y="1710"/>
                </a:lnTo>
                <a:lnTo>
                  <a:pt x="14003" y="1871"/>
                </a:lnTo>
                <a:lnTo>
                  <a:pt x="13437" y="2018"/>
                </a:lnTo>
                <a:lnTo>
                  <a:pt x="12844" y="2151"/>
                </a:lnTo>
                <a:lnTo>
                  <a:pt x="12232" y="2269"/>
                </a:lnTo>
                <a:lnTo>
                  <a:pt x="11599" y="2374"/>
                </a:lnTo>
                <a:lnTo>
                  <a:pt x="10952" y="2464"/>
                </a:lnTo>
                <a:lnTo>
                  <a:pt x="10294" y="2540"/>
                </a:lnTo>
                <a:lnTo>
                  <a:pt x="9625" y="2602"/>
                </a:lnTo>
                <a:lnTo>
                  <a:pt x="8951" y="2649"/>
                </a:lnTo>
                <a:lnTo>
                  <a:pt x="8275" y="2684"/>
                </a:lnTo>
                <a:lnTo>
                  <a:pt x="7599" y="2704"/>
                </a:lnTo>
                <a:lnTo>
                  <a:pt x="6928" y="2710"/>
                </a:lnTo>
                <a:lnTo>
                  <a:pt x="6264" y="2702"/>
                </a:lnTo>
                <a:lnTo>
                  <a:pt x="5609" y="2681"/>
                </a:lnTo>
                <a:lnTo>
                  <a:pt x="4968" y="2645"/>
                </a:lnTo>
                <a:lnTo>
                  <a:pt x="4344" y="2597"/>
                </a:lnTo>
                <a:lnTo>
                  <a:pt x="3740" y="2534"/>
                </a:lnTo>
                <a:lnTo>
                  <a:pt x="3158" y="2457"/>
                </a:lnTo>
                <a:lnTo>
                  <a:pt x="2603" y="2367"/>
                </a:lnTo>
                <a:lnTo>
                  <a:pt x="2077" y="2264"/>
                </a:lnTo>
                <a:lnTo>
                  <a:pt x="1584" y="2147"/>
                </a:lnTo>
                <a:lnTo>
                  <a:pt x="1126" y="2016"/>
                </a:lnTo>
                <a:lnTo>
                  <a:pt x="708" y="1871"/>
                </a:lnTo>
                <a:lnTo>
                  <a:pt x="331" y="1714"/>
                </a:lnTo>
                <a:lnTo>
                  <a:pt x="0" y="1543"/>
                </a:lnTo>
                <a:lnTo>
                  <a:pt x="0" y="1474"/>
                </a:lnTo>
                <a:lnTo>
                  <a:pt x="341" y="1635"/>
                </a:lnTo>
                <a:lnTo>
                  <a:pt x="727" y="1784"/>
                </a:lnTo>
                <a:lnTo>
                  <a:pt x="1155" y="1920"/>
                </a:lnTo>
                <a:lnTo>
                  <a:pt x="1621" y="2042"/>
                </a:lnTo>
                <a:lnTo>
                  <a:pt x="2121" y="2151"/>
                </a:lnTo>
                <a:lnTo>
                  <a:pt x="2654" y="2249"/>
                </a:lnTo>
                <a:lnTo>
                  <a:pt x="3215" y="2331"/>
                </a:lnTo>
                <a:lnTo>
                  <a:pt x="3803" y="2401"/>
                </a:lnTo>
                <a:lnTo>
                  <a:pt x="4413" y="2457"/>
                </a:lnTo>
                <a:lnTo>
                  <a:pt x="5041" y="2500"/>
                </a:lnTo>
                <a:lnTo>
                  <a:pt x="5686" y="2531"/>
                </a:lnTo>
                <a:lnTo>
                  <a:pt x="6343" y="2547"/>
                </a:lnTo>
                <a:lnTo>
                  <a:pt x="7011" y="2550"/>
                </a:lnTo>
                <a:lnTo>
                  <a:pt x="7685" y="2539"/>
                </a:lnTo>
                <a:lnTo>
                  <a:pt x="8361" y="2515"/>
                </a:lnTo>
                <a:lnTo>
                  <a:pt x="9039" y="2478"/>
                </a:lnTo>
                <a:lnTo>
                  <a:pt x="9712" y="2426"/>
                </a:lnTo>
                <a:lnTo>
                  <a:pt x="10379" y="2361"/>
                </a:lnTo>
                <a:lnTo>
                  <a:pt x="11037" y="2283"/>
                </a:lnTo>
                <a:lnTo>
                  <a:pt x="11682" y="2190"/>
                </a:lnTo>
                <a:lnTo>
                  <a:pt x="12311" y="2084"/>
                </a:lnTo>
                <a:lnTo>
                  <a:pt x="12921" y="1964"/>
                </a:lnTo>
                <a:lnTo>
                  <a:pt x="13509" y="1831"/>
                </a:lnTo>
                <a:lnTo>
                  <a:pt x="14070" y="1683"/>
                </a:lnTo>
                <a:lnTo>
                  <a:pt x="14604" y="1522"/>
                </a:lnTo>
                <a:lnTo>
                  <a:pt x="15105" y="1347"/>
                </a:lnTo>
                <a:lnTo>
                  <a:pt x="15571" y="1158"/>
                </a:lnTo>
                <a:lnTo>
                  <a:pt x="15999" y="954"/>
                </a:lnTo>
                <a:lnTo>
                  <a:pt x="16386" y="737"/>
                </a:lnTo>
                <a:lnTo>
                  <a:pt x="16728" y="506"/>
                </a:lnTo>
                <a:lnTo>
                  <a:pt x="17021" y="260"/>
                </a:lnTo>
                <a:lnTo>
                  <a:pt x="17264" y="0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accent2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0600" y="1116449"/>
            <a:ext cx="6858000" cy="707886"/>
          </a:xfrm>
        </p:spPr>
        <p:txBody>
          <a:bodyPr>
            <a:spAutoFit/>
          </a:bodyPr>
          <a:lstStyle>
            <a:lvl1pPr algn="r">
              <a:defRPr sz="400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90600" y="1900535"/>
            <a:ext cx="6858000" cy="461665"/>
          </a:xfrm>
        </p:spPr>
        <p:txBody>
          <a:bodyPr>
            <a:spAutoFit/>
          </a:bodyPr>
          <a:lstStyle>
            <a:lvl1pPr marL="0" indent="0" algn="r">
              <a:buNone/>
              <a:defRPr sz="2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7848600" y="6492875"/>
            <a:ext cx="1295400" cy="365125"/>
          </a:xfrm>
        </p:spPr>
        <p:txBody>
          <a:bodyPr/>
          <a:lstStyle>
            <a:lvl1pPr>
              <a:defRPr/>
            </a:lvl1pPr>
          </a:lstStyle>
          <a:p>
            <a:fld id="{3DC6CED4-98E5-4E2A-9583-F6309388DFC0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0D62E6-45A8-4848-999A-C157F27D4C53}" type="datetime1">
              <a:rPr lang="en-US"/>
              <a:pPr>
                <a:defRPr/>
              </a:pPr>
              <a:t>5/31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DA38C09-F33C-4D71-B50E-FCAE80B936FB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0319B8-CAC2-496F-89E6-E501544EA892}" type="datetime1">
              <a:rPr lang="en-US"/>
              <a:pPr>
                <a:defRPr/>
              </a:pPr>
              <a:t>5/31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2D307B-0B95-4B04-ADF1-CC234782F951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half" idx="1"/>
          </p:nvPr>
        </p:nvSpPr>
        <p:spPr>
          <a:xfrm>
            <a:off x="304800" y="1600200"/>
            <a:ext cx="4191000" cy="47244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343400" cy="47244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21" name="Date Placeholder 2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C64A95F-2277-4E7F-AD30-086A0FAFF65A}" type="datetime1">
              <a:rPr lang="en-GB" smtClean="0"/>
              <a:pPr>
                <a:defRPr/>
              </a:pPr>
              <a:t>31/05/2013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1" name="Slide Number Placeholder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875ECB7-EF36-47DD-90B9-2358BC407CA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28600"/>
            <a:ext cx="7772400" cy="685800"/>
          </a:xfrm>
          <a:solidFill>
            <a:schemeClr val="tx2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85800" y="1981200"/>
            <a:ext cx="7772400" cy="4114800"/>
          </a:xfrm>
        </p:spPr>
        <p:txBody>
          <a:bodyPr>
            <a:norm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fld id="{D250102D-1933-4907-B69D-113BD8A06238}" type="datetime1">
              <a:rPr lang="en-GB" smtClean="0"/>
              <a:pPr>
                <a:defRPr/>
              </a:pPr>
              <a:t>31/05/2013</a:t>
            </a:fld>
            <a:endParaRPr lang="en-US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fld id="{282BD2C2-98B6-4C6C-B763-5F760EE620D0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/>
          <a:lstStyle>
            <a:lvl1pPr marL="342900" indent="-342900" algn="l" rtl="0" eaLnBrk="0" fontAlgn="base" hangingPunct="0">
              <a:lnSpc>
                <a:spcPts val="4400"/>
              </a:lnSpc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  <a:defRPr lang="en-US" sz="2800" b="1" kern="1200" dirty="0" smtClean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600"/>
              </a:spcBef>
              <a:spcAft>
                <a:spcPts val="600"/>
              </a:spcAft>
              <a:buSzPct val="80000"/>
              <a:buFont typeface="Wingdings" pitchFamily="2" charset="2"/>
              <a:buChar char="Ø"/>
              <a:defRPr sz="2400" b="1">
                <a:solidFill>
                  <a:srgbClr val="FF0000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buSzPct val="80000"/>
              <a:buFont typeface="Wingdings" pitchFamily="2" charset="2"/>
              <a:buChar char="v"/>
              <a:defRPr sz="2000" b="1">
                <a:solidFill>
                  <a:srgbClr val="003300"/>
                </a:solidFill>
              </a:defRPr>
            </a:lvl3pPr>
            <a:lvl4pPr>
              <a:defRPr sz="2000" b="1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53400" y="6553200"/>
            <a:ext cx="990600" cy="304800"/>
          </a:xfrm>
        </p:spPr>
        <p:txBody>
          <a:bodyPr/>
          <a:lstStyle>
            <a:lvl1pPr>
              <a:defRPr/>
            </a:lvl1pPr>
          </a:lstStyle>
          <a:p>
            <a:fld id="{33CF789B-7884-4AA6-B427-34A02065D031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337CC5-F11F-4B10-826D-F10710B38AA0}" type="datetime1">
              <a:rPr lang="en-US"/>
              <a:pPr>
                <a:defRPr/>
              </a:pPr>
              <a:t>5/31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62B316-29E3-4C5A-BD66-CF167024E126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DC45F9-25BF-406A-81B2-022FD01CE927}" type="datetime1">
              <a:rPr lang="en-US"/>
              <a:pPr>
                <a:defRPr/>
              </a:pPr>
              <a:t>5/31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2DFFF70-72B1-4B8B-82E2-F782EFE3E6C0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978DB9-77A4-423E-B1D2-E08461EC46F9}" type="datetime1">
              <a:rPr lang="en-US"/>
              <a:pPr>
                <a:defRPr/>
              </a:pPr>
              <a:t>5/31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C097D55-3494-40B5-A004-893E234F8930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102BA9-8C4A-4E4E-9AD8-EDFB0E9BD931}" type="datetime1">
              <a:rPr lang="en-US"/>
              <a:pPr>
                <a:defRPr/>
              </a:pPr>
              <a:t>5/31/201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0B114C-26F4-4E6F-AE12-487A8A2E9F77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F54008-3036-45AE-ACD3-6835D2B67822}" type="datetime1">
              <a:rPr lang="en-US"/>
              <a:pPr>
                <a:defRPr/>
              </a:pPr>
              <a:t>5/31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87A95D-6F2E-4B63-81B8-CCDB7295D42E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B8224E-90B2-4DFF-AB33-C08152BBDCC5}" type="datetime1">
              <a:rPr lang="en-US"/>
              <a:pPr>
                <a:defRPr/>
              </a:pPr>
              <a:t>5/31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17E5EA5-D986-480A-B8E7-512D9DA5FB1B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37F95C-C520-4885-BD27-E872A5EB91D9}" type="datetime1">
              <a:rPr lang="en-US"/>
              <a:pPr>
                <a:defRPr/>
              </a:pPr>
              <a:t>5/31/201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930F70B-17D5-43F1-A41B-EBE7B85C3E4A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B66D00E-225B-4811-926A-664448E4917E}" type="datetime1">
              <a:rPr lang="en-US"/>
              <a:pPr>
                <a:defRPr/>
              </a:pPr>
              <a:t>5/31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1028" name="Group 32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1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9144001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42" name="Freeform 9"/>
            <p:cNvSpPr>
              <a:spLocks/>
            </p:cNvSpPr>
            <p:nvPr/>
          </p:nvSpPr>
          <p:spPr bwMode="auto">
            <a:xfrm>
              <a:off x="7543801" y="0"/>
              <a:ext cx="1600200" cy="2209800"/>
            </a:xfrm>
            <a:custGeom>
              <a:avLst/>
              <a:gdLst>
                <a:gd name="T0" fmla="*/ 0 w 1432"/>
                <a:gd name="T1" fmla="*/ 0 h 3492"/>
                <a:gd name="T2" fmla="*/ 2147483646 w 1432"/>
                <a:gd name="T3" fmla="*/ 0 h 3492"/>
                <a:gd name="T4" fmla="*/ 2147483646 w 1432"/>
                <a:gd name="T5" fmla="*/ 2147483646 h 3492"/>
                <a:gd name="T6" fmla="*/ 2147483646 w 1432"/>
                <a:gd name="T7" fmla="*/ 2147483646 h 3492"/>
                <a:gd name="T8" fmla="*/ 2147483646 w 1432"/>
                <a:gd name="T9" fmla="*/ 2147483646 h 3492"/>
                <a:gd name="T10" fmla="*/ 2147483646 w 1432"/>
                <a:gd name="T11" fmla="*/ 2147483646 h 3492"/>
                <a:gd name="T12" fmla="*/ 2147483646 w 1432"/>
                <a:gd name="T13" fmla="*/ 2147483646 h 3492"/>
                <a:gd name="T14" fmla="*/ 2147483646 w 1432"/>
                <a:gd name="T15" fmla="*/ 2147483646 h 3492"/>
                <a:gd name="T16" fmla="*/ 2147483646 w 1432"/>
                <a:gd name="T17" fmla="*/ 2147483646 h 3492"/>
                <a:gd name="T18" fmla="*/ 2147483646 w 1432"/>
                <a:gd name="T19" fmla="*/ 2147483646 h 3492"/>
                <a:gd name="T20" fmla="*/ 2147483646 w 1432"/>
                <a:gd name="T21" fmla="*/ 2147483646 h 3492"/>
                <a:gd name="T22" fmla="*/ 2147483646 w 1432"/>
                <a:gd name="T23" fmla="*/ 2147483646 h 3492"/>
                <a:gd name="T24" fmla="*/ 2147483646 w 1432"/>
                <a:gd name="T25" fmla="*/ 2147483646 h 3492"/>
                <a:gd name="T26" fmla="*/ 2147483646 w 1432"/>
                <a:gd name="T27" fmla="*/ 2147483646 h 3492"/>
                <a:gd name="T28" fmla="*/ 2147483646 w 1432"/>
                <a:gd name="T29" fmla="*/ 2147483646 h 3492"/>
                <a:gd name="T30" fmla="*/ 2147483646 w 1432"/>
                <a:gd name="T31" fmla="*/ 2147483646 h 3492"/>
                <a:gd name="T32" fmla="*/ 2147483646 w 1432"/>
                <a:gd name="T33" fmla="*/ 2147483646 h 3492"/>
                <a:gd name="T34" fmla="*/ 2147483646 w 1432"/>
                <a:gd name="T35" fmla="*/ 2147483646 h 3492"/>
                <a:gd name="T36" fmla="*/ 2147483646 w 1432"/>
                <a:gd name="T37" fmla="*/ 2147483646 h 3492"/>
                <a:gd name="T38" fmla="*/ 2147483646 w 1432"/>
                <a:gd name="T39" fmla="*/ 2147483646 h 3492"/>
                <a:gd name="T40" fmla="*/ 2147483646 w 1432"/>
                <a:gd name="T41" fmla="*/ 2147483646 h 3492"/>
                <a:gd name="T42" fmla="*/ 2147483646 w 1432"/>
                <a:gd name="T43" fmla="*/ 2147483646 h 3492"/>
                <a:gd name="T44" fmla="*/ 2147483646 w 1432"/>
                <a:gd name="T45" fmla="*/ 2147483646 h 3492"/>
                <a:gd name="T46" fmla="*/ 2147483646 w 1432"/>
                <a:gd name="T47" fmla="*/ 2147483646 h 3492"/>
                <a:gd name="T48" fmla="*/ 2147483646 w 1432"/>
                <a:gd name="T49" fmla="*/ 2147483646 h 3492"/>
                <a:gd name="T50" fmla="*/ 2147483646 w 1432"/>
                <a:gd name="T51" fmla="*/ 2147483646 h 3492"/>
                <a:gd name="T52" fmla="*/ 2147483646 w 1432"/>
                <a:gd name="T53" fmla="*/ 2147483646 h 3492"/>
                <a:gd name="T54" fmla="*/ 2147483646 w 1432"/>
                <a:gd name="T55" fmla="*/ 2147483646 h 3492"/>
                <a:gd name="T56" fmla="*/ 2147483646 w 1432"/>
                <a:gd name="T57" fmla="*/ 2147483646 h 3492"/>
                <a:gd name="T58" fmla="*/ 2147483646 w 1432"/>
                <a:gd name="T59" fmla="*/ 2147483646 h 3492"/>
                <a:gd name="T60" fmla="*/ 2147483646 w 1432"/>
                <a:gd name="T61" fmla="*/ 2147483646 h 3492"/>
                <a:gd name="T62" fmla="*/ 2147483646 w 1432"/>
                <a:gd name="T63" fmla="*/ 2147483646 h 3492"/>
                <a:gd name="T64" fmla="*/ 2147483646 w 1432"/>
                <a:gd name="T65" fmla="*/ 2147483646 h 3492"/>
                <a:gd name="T66" fmla="*/ 2147483646 w 1432"/>
                <a:gd name="T67" fmla="*/ 2147483646 h 3492"/>
                <a:gd name="T68" fmla="*/ 0 w 1432"/>
                <a:gd name="T69" fmla="*/ 0 h 349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432" h="3492">
                  <a:moveTo>
                    <a:pt x="0" y="0"/>
                  </a:moveTo>
                  <a:lnTo>
                    <a:pt x="1432" y="0"/>
                  </a:lnTo>
                  <a:lnTo>
                    <a:pt x="1432" y="3492"/>
                  </a:lnTo>
                  <a:lnTo>
                    <a:pt x="1419" y="3252"/>
                  </a:lnTo>
                  <a:lnTo>
                    <a:pt x="1406" y="3024"/>
                  </a:lnTo>
                  <a:lnTo>
                    <a:pt x="1393" y="2807"/>
                  </a:lnTo>
                  <a:lnTo>
                    <a:pt x="1379" y="2601"/>
                  </a:lnTo>
                  <a:lnTo>
                    <a:pt x="1364" y="2407"/>
                  </a:lnTo>
                  <a:lnTo>
                    <a:pt x="1348" y="2222"/>
                  </a:lnTo>
                  <a:lnTo>
                    <a:pt x="1330" y="2047"/>
                  </a:lnTo>
                  <a:lnTo>
                    <a:pt x="1311" y="1881"/>
                  </a:lnTo>
                  <a:lnTo>
                    <a:pt x="1291" y="1726"/>
                  </a:lnTo>
                  <a:lnTo>
                    <a:pt x="1268" y="1580"/>
                  </a:lnTo>
                  <a:lnTo>
                    <a:pt x="1245" y="1442"/>
                  </a:lnTo>
                  <a:lnTo>
                    <a:pt x="1218" y="1313"/>
                  </a:lnTo>
                  <a:lnTo>
                    <a:pt x="1190" y="1192"/>
                  </a:lnTo>
                  <a:lnTo>
                    <a:pt x="1158" y="1078"/>
                  </a:lnTo>
                  <a:lnTo>
                    <a:pt x="1125" y="973"/>
                  </a:lnTo>
                  <a:lnTo>
                    <a:pt x="1089" y="873"/>
                  </a:lnTo>
                  <a:lnTo>
                    <a:pt x="1049" y="781"/>
                  </a:lnTo>
                  <a:lnTo>
                    <a:pt x="1007" y="696"/>
                  </a:lnTo>
                  <a:lnTo>
                    <a:pt x="962" y="617"/>
                  </a:lnTo>
                  <a:lnTo>
                    <a:pt x="913" y="544"/>
                  </a:lnTo>
                  <a:lnTo>
                    <a:pt x="860" y="475"/>
                  </a:lnTo>
                  <a:lnTo>
                    <a:pt x="804" y="413"/>
                  </a:lnTo>
                  <a:lnTo>
                    <a:pt x="744" y="354"/>
                  </a:lnTo>
                  <a:lnTo>
                    <a:pt x="680" y="301"/>
                  </a:lnTo>
                  <a:lnTo>
                    <a:pt x="611" y="252"/>
                  </a:lnTo>
                  <a:lnTo>
                    <a:pt x="539" y="206"/>
                  </a:lnTo>
                  <a:lnTo>
                    <a:pt x="461" y="165"/>
                  </a:lnTo>
                  <a:lnTo>
                    <a:pt x="379" y="128"/>
                  </a:lnTo>
                  <a:lnTo>
                    <a:pt x="292" y="92"/>
                  </a:lnTo>
                  <a:lnTo>
                    <a:pt x="200" y="59"/>
                  </a:lnTo>
                  <a:lnTo>
                    <a:pt x="103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3733800" y="5715000"/>
              <a:ext cx="5029201" cy="762000"/>
            </a:xfrm>
            <a:custGeom>
              <a:avLst/>
              <a:gdLst/>
              <a:ahLst/>
              <a:cxnLst>
                <a:cxn ang="0">
                  <a:pos x="17264" y="180"/>
                </a:cxn>
                <a:cxn ang="0">
                  <a:pos x="16706" y="689"/>
                </a:cxn>
                <a:cxn ang="0">
                  <a:pos x="15959" y="1141"/>
                </a:cxn>
                <a:cxn ang="0">
                  <a:pos x="15050" y="1535"/>
                </a:cxn>
                <a:cxn ang="0">
                  <a:pos x="14003" y="1871"/>
                </a:cxn>
                <a:cxn ang="0">
                  <a:pos x="12844" y="2151"/>
                </a:cxn>
                <a:cxn ang="0">
                  <a:pos x="11599" y="2374"/>
                </a:cxn>
                <a:cxn ang="0">
                  <a:pos x="10294" y="2540"/>
                </a:cxn>
                <a:cxn ang="0">
                  <a:pos x="8951" y="2649"/>
                </a:cxn>
                <a:cxn ang="0">
                  <a:pos x="7599" y="2704"/>
                </a:cxn>
                <a:cxn ang="0">
                  <a:pos x="6264" y="2702"/>
                </a:cxn>
                <a:cxn ang="0">
                  <a:pos x="4968" y="2645"/>
                </a:cxn>
                <a:cxn ang="0">
                  <a:pos x="3740" y="2534"/>
                </a:cxn>
                <a:cxn ang="0">
                  <a:pos x="2603" y="2367"/>
                </a:cxn>
                <a:cxn ang="0">
                  <a:pos x="1584" y="2147"/>
                </a:cxn>
                <a:cxn ang="0">
                  <a:pos x="708" y="1871"/>
                </a:cxn>
                <a:cxn ang="0">
                  <a:pos x="0" y="1543"/>
                </a:cxn>
                <a:cxn ang="0">
                  <a:pos x="341" y="1635"/>
                </a:cxn>
                <a:cxn ang="0">
                  <a:pos x="1155" y="1920"/>
                </a:cxn>
                <a:cxn ang="0">
                  <a:pos x="2121" y="2151"/>
                </a:cxn>
                <a:cxn ang="0">
                  <a:pos x="3215" y="2331"/>
                </a:cxn>
                <a:cxn ang="0">
                  <a:pos x="4413" y="2457"/>
                </a:cxn>
                <a:cxn ang="0">
                  <a:pos x="5686" y="2531"/>
                </a:cxn>
                <a:cxn ang="0">
                  <a:pos x="7011" y="2550"/>
                </a:cxn>
                <a:cxn ang="0">
                  <a:pos x="8361" y="2515"/>
                </a:cxn>
                <a:cxn ang="0">
                  <a:pos x="9712" y="2426"/>
                </a:cxn>
                <a:cxn ang="0">
                  <a:pos x="11037" y="2283"/>
                </a:cxn>
                <a:cxn ang="0">
                  <a:pos x="12311" y="2084"/>
                </a:cxn>
                <a:cxn ang="0">
                  <a:pos x="13509" y="1831"/>
                </a:cxn>
                <a:cxn ang="0">
                  <a:pos x="14604" y="1522"/>
                </a:cxn>
                <a:cxn ang="0">
                  <a:pos x="15571" y="1158"/>
                </a:cxn>
                <a:cxn ang="0">
                  <a:pos x="16386" y="737"/>
                </a:cxn>
                <a:cxn ang="0">
                  <a:pos x="17021" y="260"/>
                </a:cxn>
              </a:cxnLst>
              <a:rect l="0" t="0" r="r" b="b"/>
              <a:pathLst>
                <a:path w="17264" h="2710">
                  <a:moveTo>
                    <a:pt x="17264" y="0"/>
                  </a:moveTo>
                  <a:lnTo>
                    <a:pt x="17264" y="180"/>
                  </a:lnTo>
                  <a:lnTo>
                    <a:pt x="17010" y="442"/>
                  </a:lnTo>
                  <a:lnTo>
                    <a:pt x="16706" y="689"/>
                  </a:lnTo>
                  <a:lnTo>
                    <a:pt x="16354" y="923"/>
                  </a:lnTo>
                  <a:lnTo>
                    <a:pt x="15959" y="1141"/>
                  </a:lnTo>
                  <a:lnTo>
                    <a:pt x="15524" y="1345"/>
                  </a:lnTo>
                  <a:lnTo>
                    <a:pt x="15050" y="1535"/>
                  </a:lnTo>
                  <a:lnTo>
                    <a:pt x="14543" y="1710"/>
                  </a:lnTo>
                  <a:lnTo>
                    <a:pt x="14003" y="1871"/>
                  </a:lnTo>
                  <a:lnTo>
                    <a:pt x="13437" y="2018"/>
                  </a:lnTo>
                  <a:lnTo>
                    <a:pt x="12844" y="2151"/>
                  </a:lnTo>
                  <a:lnTo>
                    <a:pt x="12232" y="2269"/>
                  </a:lnTo>
                  <a:lnTo>
                    <a:pt x="11599" y="2374"/>
                  </a:lnTo>
                  <a:lnTo>
                    <a:pt x="10952" y="2464"/>
                  </a:lnTo>
                  <a:lnTo>
                    <a:pt x="10294" y="2540"/>
                  </a:lnTo>
                  <a:lnTo>
                    <a:pt x="9625" y="2602"/>
                  </a:lnTo>
                  <a:lnTo>
                    <a:pt x="8951" y="2649"/>
                  </a:lnTo>
                  <a:lnTo>
                    <a:pt x="8275" y="2684"/>
                  </a:lnTo>
                  <a:lnTo>
                    <a:pt x="7599" y="2704"/>
                  </a:lnTo>
                  <a:lnTo>
                    <a:pt x="6928" y="2710"/>
                  </a:lnTo>
                  <a:lnTo>
                    <a:pt x="6264" y="2702"/>
                  </a:lnTo>
                  <a:lnTo>
                    <a:pt x="5609" y="2681"/>
                  </a:lnTo>
                  <a:lnTo>
                    <a:pt x="4968" y="2645"/>
                  </a:lnTo>
                  <a:lnTo>
                    <a:pt x="4344" y="2597"/>
                  </a:lnTo>
                  <a:lnTo>
                    <a:pt x="3740" y="2534"/>
                  </a:lnTo>
                  <a:lnTo>
                    <a:pt x="3158" y="2457"/>
                  </a:lnTo>
                  <a:lnTo>
                    <a:pt x="2603" y="2367"/>
                  </a:lnTo>
                  <a:lnTo>
                    <a:pt x="2077" y="2264"/>
                  </a:lnTo>
                  <a:lnTo>
                    <a:pt x="1584" y="2147"/>
                  </a:lnTo>
                  <a:lnTo>
                    <a:pt x="1126" y="2016"/>
                  </a:lnTo>
                  <a:lnTo>
                    <a:pt x="708" y="1871"/>
                  </a:lnTo>
                  <a:lnTo>
                    <a:pt x="331" y="1714"/>
                  </a:lnTo>
                  <a:lnTo>
                    <a:pt x="0" y="1543"/>
                  </a:lnTo>
                  <a:lnTo>
                    <a:pt x="0" y="1474"/>
                  </a:lnTo>
                  <a:lnTo>
                    <a:pt x="341" y="1635"/>
                  </a:lnTo>
                  <a:lnTo>
                    <a:pt x="727" y="1784"/>
                  </a:lnTo>
                  <a:lnTo>
                    <a:pt x="1155" y="1920"/>
                  </a:lnTo>
                  <a:lnTo>
                    <a:pt x="1621" y="2042"/>
                  </a:lnTo>
                  <a:lnTo>
                    <a:pt x="2121" y="2151"/>
                  </a:lnTo>
                  <a:lnTo>
                    <a:pt x="2654" y="2249"/>
                  </a:lnTo>
                  <a:lnTo>
                    <a:pt x="3215" y="2331"/>
                  </a:lnTo>
                  <a:lnTo>
                    <a:pt x="3803" y="2401"/>
                  </a:lnTo>
                  <a:lnTo>
                    <a:pt x="4413" y="2457"/>
                  </a:lnTo>
                  <a:lnTo>
                    <a:pt x="5041" y="2500"/>
                  </a:lnTo>
                  <a:lnTo>
                    <a:pt x="5686" y="2531"/>
                  </a:lnTo>
                  <a:lnTo>
                    <a:pt x="6343" y="2547"/>
                  </a:lnTo>
                  <a:lnTo>
                    <a:pt x="7011" y="2550"/>
                  </a:lnTo>
                  <a:lnTo>
                    <a:pt x="7685" y="2539"/>
                  </a:lnTo>
                  <a:lnTo>
                    <a:pt x="8361" y="2515"/>
                  </a:lnTo>
                  <a:lnTo>
                    <a:pt x="9039" y="2478"/>
                  </a:lnTo>
                  <a:lnTo>
                    <a:pt x="9712" y="2426"/>
                  </a:lnTo>
                  <a:lnTo>
                    <a:pt x="10379" y="2361"/>
                  </a:lnTo>
                  <a:lnTo>
                    <a:pt x="11037" y="2283"/>
                  </a:lnTo>
                  <a:lnTo>
                    <a:pt x="11682" y="2190"/>
                  </a:lnTo>
                  <a:lnTo>
                    <a:pt x="12311" y="2084"/>
                  </a:lnTo>
                  <a:lnTo>
                    <a:pt x="12921" y="1964"/>
                  </a:lnTo>
                  <a:lnTo>
                    <a:pt x="13509" y="1831"/>
                  </a:lnTo>
                  <a:lnTo>
                    <a:pt x="14070" y="1683"/>
                  </a:lnTo>
                  <a:lnTo>
                    <a:pt x="14604" y="1522"/>
                  </a:lnTo>
                  <a:lnTo>
                    <a:pt x="15105" y="1347"/>
                  </a:lnTo>
                  <a:lnTo>
                    <a:pt x="15571" y="1158"/>
                  </a:lnTo>
                  <a:lnTo>
                    <a:pt x="15999" y="954"/>
                  </a:lnTo>
                  <a:lnTo>
                    <a:pt x="16386" y="737"/>
                  </a:lnTo>
                  <a:lnTo>
                    <a:pt x="16728" y="506"/>
                  </a:lnTo>
                  <a:lnTo>
                    <a:pt x="17021" y="260"/>
                  </a:lnTo>
                  <a:lnTo>
                    <a:pt x="17264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accent2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DA3AC599-783C-4A1F-A276-D7748DA6B90F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3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868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447800"/>
            <a:ext cx="82296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2" name="Group 11"/>
          <p:cNvGrpSpPr>
            <a:grpSpLocks/>
          </p:cNvGrpSpPr>
          <p:nvPr/>
        </p:nvGrpSpPr>
        <p:grpSpPr bwMode="auto">
          <a:xfrm>
            <a:off x="0" y="2854325"/>
            <a:ext cx="3581400" cy="4003675"/>
            <a:chOff x="0" y="2533588"/>
            <a:chExt cx="8022336" cy="8966516"/>
          </a:xfrm>
        </p:grpSpPr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0" y="2533588"/>
              <a:ext cx="4128517" cy="25136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18"/>
                </a:cxn>
                <a:cxn ang="0">
                  <a:pos x="246" y="40"/>
                </a:cxn>
                <a:cxn ang="0">
                  <a:pos x="365" y="64"/>
                </a:cxn>
                <a:cxn ang="0">
                  <a:pos x="596" y="127"/>
                </a:cxn>
                <a:cxn ang="0">
                  <a:pos x="815" y="200"/>
                </a:cxn>
                <a:cxn ang="0">
                  <a:pos x="1025" y="286"/>
                </a:cxn>
                <a:cxn ang="0">
                  <a:pos x="1223" y="380"/>
                </a:cxn>
                <a:cxn ang="0">
                  <a:pos x="1411" y="482"/>
                </a:cxn>
                <a:cxn ang="0">
                  <a:pos x="1588" y="591"/>
                </a:cxn>
                <a:cxn ang="0">
                  <a:pos x="1753" y="707"/>
                </a:cxn>
                <a:cxn ang="0">
                  <a:pos x="1907" y="824"/>
                </a:cxn>
                <a:cxn ang="0">
                  <a:pos x="2047" y="946"/>
                </a:cxn>
                <a:cxn ang="0">
                  <a:pos x="2177" y="1066"/>
                </a:cxn>
                <a:cxn ang="0">
                  <a:pos x="2293" y="1189"/>
                </a:cxn>
                <a:cxn ang="0">
                  <a:pos x="2397" y="1308"/>
                </a:cxn>
                <a:cxn ang="0">
                  <a:pos x="2488" y="1423"/>
                </a:cxn>
                <a:cxn ang="0">
                  <a:pos x="2565" y="1534"/>
                </a:cxn>
                <a:cxn ang="0">
                  <a:pos x="2600" y="1587"/>
                </a:cxn>
                <a:cxn ang="0">
                  <a:pos x="2535" y="1522"/>
                </a:cxn>
                <a:cxn ang="0">
                  <a:pos x="2455" y="1451"/>
                </a:cxn>
                <a:cxn ang="0">
                  <a:pos x="2359" y="1375"/>
                </a:cxn>
                <a:cxn ang="0">
                  <a:pos x="2247" y="1294"/>
                </a:cxn>
                <a:cxn ang="0">
                  <a:pos x="2119" y="1215"/>
                </a:cxn>
                <a:cxn ang="0">
                  <a:pos x="1981" y="1134"/>
                </a:cxn>
                <a:cxn ang="0">
                  <a:pos x="1827" y="1058"/>
                </a:cxn>
                <a:cxn ang="0">
                  <a:pos x="1662" y="986"/>
                </a:cxn>
                <a:cxn ang="0">
                  <a:pos x="1486" y="921"/>
                </a:cxn>
                <a:cxn ang="0">
                  <a:pos x="1299" y="865"/>
                </a:cxn>
                <a:cxn ang="0">
                  <a:pos x="1103" y="819"/>
                </a:cxn>
                <a:cxn ang="0">
                  <a:pos x="896" y="787"/>
                </a:cxn>
                <a:cxn ang="0">
                  <a:pos x="791" y="776"/>
                </a:cxn>
                <a:cxn ang="0">
                  <a:pos x="683" y="769"/>
                </a:cxn>
                <a:cxn ang="0">
                  <a:pos x="573" y="768"/>
                </a:cxn>
                <a:cxn ang="0">
                  <a:pos x="462" y="769"/>
                </a:cxn>
                <a:cxn ang="0">
                  <a:pos x="348" y="776"/>
                </a:cxn>
                <a:cxn ang="0">
                  <a:pos x="234" y="787"/>
                </a:cxn>
                <a:cxn ang="0">
                  <a:pos x="117" y="806"/>
                </a:cxn>
                <a:cxn ang="0">
                  <a:pos x="0" y="827"/>
                </a:cxn>
                <a:cxn ang="0">
                  <a:pos x="0" y="0"/>
                </a:cxn>
              </a:cxnLst>
              <a:rect l="0" t="0" r="r" b="b"/>
              <a:pathLst>
                <a:path w="2600" h="1587">
                  <a:moveTo>
                    <a:pt x="0" y="0"/>
                  </a:moveTo>
                  <a:lnTo>
                    <a:pt x="0" y="0"/>
                  </a:lnTo>
                  <a:lnTo>
                    <a:pt x="63" y="8"/>
                  </a:lnTo>
                  <a:lnTo>
                    <a:pt x="124" y="18"/>
                  </a:lnTo>
                  <a:lnTo>
                    <a:pt x="185" y="28"/>
                  </a:lnTo>
                  <a:lnTo>
                    <a:pt x="246" y="40"/>
                  </a:lnTo>
                  <a:lnTo>
                    <a:pt x="305" y="53"/>
                  </a:lnTo>
                  <a:lnTo>
                    <a:pt x="365" y="64"/>
                  </a:lnTo>
                  <a:lnTo>
                    <a:pt x="480" y="94"/>
                  </a:lnTo>
                  <a:lnTo>
                    <a:pt x="596" y="127"/>
                  </a:lnTo>
                  <a:lnTo>
                    <a:pt x="706" y="162"/>
                  </a:lnTo>
                  <a:lnTo>
                    <a:pt x="815" y="200"/>
                  </a:lnTo>
                  <a:lnTo>
                    <a:pt x="921" y="241"/>
                  </a:lnTo>
                  <a:lnTo>
                    <a:pt x="1025" y="286"/>
                  </a:lnTo>
                  <a:lnTo>
                    <a:pt x="1126" y="330"/>
                  </a:lnTo>
                  <a:lnTo>
                    <a:pt x="1223" y="380"/>
                  </a:lnTo>
                  <a:lnTo>
                    <a:pt x="1319" y="429"/>
                  </a:lnTo>
                  <a:lnTo>
                    <a:pt x="1411" y="482"/>
                  </a:lnTo>
                  <a:lnTo>
                    <a:pt x="1502" y="537"/>
                  </a:lnTo>
                  <a:lnTo>
                    <a:pt x="1588" y="591"/>
                  </a:lnTo>
                  <a:lnTo>
                    <a:pt x="1672" y="649"/>
                  </a:lnTo>
                  <a:lnTo>
                    <a:pt x="1753" y="707"/>
                  </a:lnTo>
                  <a:lnTo>
                    <a:pt x="1831" y="764"/>
                  </a:lnTo>
                  <a:lnTo>
                    <a:pt x="1907" y="824"/>
                  </a:lnTo>
                  <a:lnTo>
                    <a:pt x="1979" y="885"/>
                  </a:lnTo>
                  <a:lnTo>
                    <a:pt x="2047" y="946"/>
                  </a:lnTo>
                  <a:lnTo>
                    <a:pt x="2113" y="1005"/>
                  </a:lnTo>
                  <a:lnTo>
                    <a:pt x="2177" y="1066"/>
                  </a:lnTo>
                  <a:lnTo>
                    <a:pt x="2237" y="1128"/>
                  </a:lnTo>
                  <a:lnTo>
                    <a:pt x="2293" y="1189"/>
                  </a:lnTo>
                  <a:lnTo>
                    <a:pt x="2347" y="1248"/>
                  </a:lnTo>
                  <a:lnTo>
                    <a:pt x="2397" y="1308"/>
                  </a:lnTo>
                  <a:lnTo>
                    <a:pt x="2445" y="1365"/>
                  </a:lnTo>
                  <a:lnTo>
                    <a:pt x="2488" y="1423"/>
                  </a:lnTo>
                  <a:lnTo>
                    <a:pt x="2529" y="1479"/>
                  </a:lnTo>
                  <a:lnTo>
                    <a:pt x="2565" y="1534"/>
                  </a:lnTo>
                  <a:lnTo>
                    <a:pt x="2600" y="1587"/>
                  </a:lnTo>
                  <a:lnTo>
                    <a:pt x="2600" y="1587"/>
                  </a:lnTo>
                  <a:lnTo>
                    <a:pt x="2570" y="1555"/>
                  </a:lnTo>
                  <a:lnTo>
                    <a:pt x="2535" y="1522"/>
                  </a:lnTo>
                  <a:lnTo>
                    <a:pt x="2497" y="1487"/>
                  </a:lnTo>
                  <a:lnTo>
                    <a:pt x="2455" y="1451"/>
                  </a:lnTo>
                  <a:lnTo>
                    <a:pt x="2408" y="1413"/>
                  </a:lnTo>
                  <a:lnTo>
                    <a:pt x="2359" y="1375"/>
                  </a:lnTo>
                  <a:lnTo>
                    <a:pt x="2304" y="1336"/>
                  </a:lnTo>
                  <a:lnTo>
                    <a:pt x="2247" y="1294"/>
                  </a:lnTo>
                  <a:lnTo>
                    <a:pt x="2185" y="1255"/>
                  </a:lnTo>
                  <a:lnTo>
                    <a:pt x="2119" y="1215"/>
                  </a:lnTo>
                  <a:lnTo>
                    <a:pt x="2052" y="1174"/>
                  </a:lnTo>
                  <a:lnTo>
                    <a:pt x="1981" y="1134"/>
                  </a:lnTo>
                  <a:lnTo>
                    <a:pt x="1905" y="1096"/>
                  </a:lnTo>
                  <a:lnTo>
                    <a:pt x="1827" y="1058"/>
                  </a:lnTo>
                  <a:lnTo>
                    <a:pt x="1746" y="1020"/>
                  </a:lnTo>
                  <a:lnTo>
                    <a:pt x="1662" y="986"/>
                  </a:lnTo>
                  <a:lnTo>
                    <a:pt x="1576" y="953"/>
                  </a:lnTo>
                  <a:lnTo>
                    <a:pt x="1486" y="921"/>
                  </a:lnTo>
                  <a:lnTo>
                    <a:pt x="1393" y="891"/>
                  </a:lnTo>
                  <a:lnTo>
                    <a:pt x="1299" y="865"/>
                  </a:lnTo>
                  <a:lnTo>
                    <a:pt x="1202" y="840"/>
                  </a:lnTo>
                  <a:lnTo>
                    <a:pt x="1103" y="819"/>
                  </a:lnTo>
                  <a:lnTo>
                    <a:pt x="1000" y="801"/>
                  </a:lnTo>
                  <a:lnTo>
                    <a:pt x="896" y="787"/>
                  </a:lnTo>
                  <a:lnTo>
                    <a:pt x="843" y="781"/>
                  </a:lnTo>
                  <a:lnTo>
                    <a:pt x="791" y="776"/>
                  </a:lnTo>
                  <a:lnTo>
                    <a:pt x="738" y="773"/>
                  </a:lnTo>
                  <a:lnTo>
                    <a:pt x="683" y="769"/>
                  </a:lnTo>
                  <a:lnTo>
                    <a:pt x="629" y="768"/>
                  </a:lnTo>
                  <a:lnTo>
                    <a:pt x="573" y="768"/>
                  </a:lnTo>
                  <a:lnTo>
                    <a:pt x="518" y="768"/>
                  </a:lnTo>
                  <a:lnTo>
                    <a:pt x="462" y="769"/>
                  </a:lnTo>
                  <a:lnTo>
                    <a:pt x="406" y="773"/>
                  </a:lnTo>
                  <a:lnTo>
                    <a:pt x="348" y="776"/>
                  </a:lnTo>
                  <a:lnTo>
                    <a:pt x="292" y="781"/>
                  </a:lnTo>
                  <a:lnTo>
                    <a:pt x="234" y="787"/>
                  </a:lnTo>
                  <a:lnTo>
                    <a:pt x="177" y="796"/>
                  </a:lnTo>
                  <a:lnTo>
                    <a:pt x="117" y="806"/>
                  </a:lnTo>
                  <a:lnTo>
                    <a:pt x="59" y="816"/>
                  </a:lnTo>
                  <a:lnTo>
                    <a:pt x="0" y="82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0" y="4979648"/>
              <a:ext cx="3182621" cy="6520456"/>
            </a:xfrm>
            <a:custGeom>
              <a:avLst/>
              <a:gdLst/>
              <a:ahLst/>
              <a:cxnLst>
                <a:cxn ang="0">
                  <a:pos x="0" y="776"/>
                </a:cxn>
                <a:cxn ang="0">
                  <a:pos x="0" y="776"/>
                </a:cxn>
                <a:cxn ang="0">
                  <a:pos x="38" y="703"/>
                </a:cxn>
                <a:cxn ang="0">
                  <a:pos x="78" y="634"/>
                </a:cxn>
                <a:cxn ang="0">
                  <a:pos x="119" y="566"/>
                </a:cxn>
                <a:cxn ang="0">
                  <a:pos x="162" y="502"/>
                </a:cxn>
                <a:cxn ang="0">
                  <a:pos x="208" y="441"/>
                </a:cxn>
                <a:cxn ang="0">
                  <a:pos x="256" y="381"/>
                </a:cxn>
                <a:cxn ang="0">
                  <a:pos x="305" y="327"/>
                </a:cxn>
                <a:cxn ang="0">
                  <a:pos x="330" y="300"/>
                </a:cxn>
                <a:cxn ang="0">
                  <a:pos x="357" y="274"/>
                </a:cxn>
                <a:cxn ang="0">
                  <a:pos x="385" y="249"/>
                </a:cxn>
                <a:cxn ang="0">
                  <a:pos x="411" y="226"/>
                </a:cxn>
                <a:cxn ang="0">
                  <a:pos x="439" y="203"/>
                </a:cxn>
                <a:cxn ang="0">
                  <a:pos x="469" y="182"/>
                </a:cxn>
                <a:cxn ang="0">
                  <a:pos x="497" y="160"/>
                </a:cxn>
                <a:cxn ang="0">
                  <a:pos x="527" y="140"/>
                </a:cxn>
                <a:cxn ang="0">
                  <a:pos x="558" y="122"/>
                </a:cxn>
                <a:cxn ang="0">
                  <a:pos x="588" y="104"/>
                </a:cxn>
                <a:cxn ang="0">
                  <a:pos x="619" y="87"/>
                </a:cxn>
                <a:cxn ang="0">
                  <a:pos x="652" y="71"/>
                </a:cxn>
                <a:cxn ang="0">
                  <a:pos x="685" y="56"/>
                </a:cxn>
                <a:cxn ang="0">
                  <a:pos x="718" y="43"/>
                </a:cxn>
                <a:cxn ang="0">
                  <a:pos x="751" y="31"/>
                </a:cxn>
                <a:cxn ang="0">
                  <a:pos x="786" y="20"/>
                </a:cxn>
                <a:cxn ang="0">
                  <a:pos x="822" y="10"/>
                </a:cxn>
                <a:cxn ang="0">
                  <a:pos x="857" y="0"/>
                </a:cxn>
                <a:cxn ang="0">
                  <a:pos x="857" y="0"/>
                </a:cxn>
                <a:cxn ang="0">
                  <a:pos x="806" y="46"/>
                </a:cxn>
                <a:cxn ang="0">
                  <a:pos x="754" y="94"/>
                </a:cxn>
                <a:cxn ang="0">
                  <a:pos x="706" y="144"/>
                </a:cxn>
                <a:cxn ang="0">
                  <a:pos x="660" y="196"/>
                </a:cxn>
                <a:cxn ang="0">
                  <a:pos x="617" y="249"/>
                </a:cxn>
                <a:cxn ang="0">
                  <a:pos x="576" y="304"/>
                </a:cxn>
                <a:cxn ang="0">
                  <a:pos x="536" y="362"/>
                </a:cxn>
                <a:cxn ang="0">
                  <a:pos x="498" y="419"/>
                </a:cxn>
                <a:cxn ang="0">
                  <a:pos x="462" y="479"/>
                </a:cxn>
                <a:cxn ang="0">
                  <a:pos x="429" y="538"/>
                </a:cxn>
                <a:cxn ang="0">
                  <a:pos x="398" y="601"/>
                </a:cxn>
                <a:cxn ang="0">
                  <a:pos x="368" y="664"/>
                </a:cxn>
                <a:cxn ang="0">
                  <a:pos x="340" y="728"/>
                </a:cxn>
                <a:cxn ang="0">
                  <a:pos x="315" y="792"/>
                </a:cxn>
                <a:cxn ang="0">
                  <a:pos x="291" y="858"/>
                </a:cxn>
                <a:cxn ang="0">
                  <a:pos x="269" y="925"/>
                </a:cxn>
                <a:cxn ang="0">
                  <a:pos x="249" y="992"/>
                </a:cxn>
                <a:cxn ang="0">
                  <a:pos x="229" y="1060"/>
                </a:cxn>
                <a:cxn ang="0">
                  <a:pos x="213" y="1128"/>
                </a:cxn>
                <a:cxn ang="0">
                  <a:pos x="198" y="1197"/>
                </a:cxn>
                <a:cxn ang="0">
                  <a:pos x="185" y="1266"/>
                </a:cxn>
                <a:cxn ang="0">
                  <a:pos x="173" y="1336"/>
                </a:cxn>
                <a:cxn ang="0">
                  <a:pos x="162" y="1405"/>
                </a:cxn>
                <a:cxn ang="0">
                  <a:pos x="154" y="1474"/>
                </a:cxn>
                <a:cxn ang="0">
                  <a:pos x="147" y="1544"/>
                </a:cxn>
                <a:cxn ang="0">
                  <a:pos x="140" y="1613"/>
                </a:cxn>
                <a:cxn ang="0">
                  <a:pos x="137" y="1682"/>
                </a:cxn>
                <a:cxn ang="0">
                  <a:pos x="134" y="1752"/>
                </a:cxn>
                <a:cxn ang="0">
                  <a:pos x="132" y="1821"/>
                </a:cxn>
                <a:cxn ang="0">
                  <a:pos x="132" y="1889"/>
                </a:cxn>
                <a:cxn ang="0">
                  <a:pos x="134" y="1956"/>
                </a:cxn>
                <a:cxn ang="0">
                  <a:pos x="135" y="2024"/>
                </a:cxn>
                <a:cxn ang="0">
                  <a:pos x="0" y="2024"/>
                </a:cxn>
                <a:cxn ang="0">
                  <a:pos x="0" y="776"/>
                </a:cxn>
                <a:cxn ang="0">
                  <a:pos x="0" y="776"/>
                </a:cxn>
              </a:cxnLst>
              <a:rect l="0" t="0" r="r" b="b"/>
              <a:pathLst>
                <a:path w="857" h="2024">
                  <a:moveTo>
                    <a:pt x="0" y="776"/>
                  </a:moveTo>
                  <a:lnTo>
                    <a:pt x="0" y="776"/>
                  </a:lnTo>
                  <a:lnTo>
                    <a:pt x="38" y="703"/>
                  </a:lnTo>
                  <a:lnTo>
                    <a:pt x="78" y="634"/>
                  </a:lnTo>
                  <a:lnTo>
                    <a:pt x="119" y="566"/>
                  </a:lnTo>
                  <a:lnTo>
                    <a:pt x="162" y="502"/>
                  </a:lnTo>
                  <a:lnTo>
                    <a:pt x="208" y="441"/>
                  </a:lnTo>
                  <a:lnTo>
                    <a:pt x="256" y="381"/>
                  </a:lnTo>
                  <a:lnTo>
                    <a:pt x="305" y="327"/>
                  </a:lnTo>
                  <a:lnTo>
                    <a:pt x="330" y="300"/>
                  </a:lnTo>
                  <a:lnTo>
                    <a:pt x="357" y="274"/>
                  </a:lnTo>
                  <a:lnTo>
                    <a:pt x="385" y="249"/>
                  </a:lnTo>
                  <a:lnTo>
                    <a:pt x="411" y="226"/>
                  </a:lnTo>
                  <a:lnTo>
                    <a:pt x="439" y="203"/>
                  </a:lnTo>
                  <a:lnTo>
                    <a:pt x="469" y="182"/>
                  </a:lnTo>
                  <a:lnTo>
                    <a:pt x="497" y="160"/>
                  </a:lnTo>
                  <a:lnTo>
                    <a:pt x="527" y="140"/>
                  </a:lnTo>
                  <a:lnTo>
                    <a:pt x="558" y="122"/>
                  </a:lnTo>
                  <a:lnTo>
                    <a:pt x="588" y="104"/>
                  </a:lnTo>
                  <a:lnTo>
                    <a:pt x="619" y="87"/>
                  </a:lnTo>
                  <a:lnTo>
                    <a:pt x="652" y="71"/>
                  </a:lnTo>
                  <a:lnTo>
                    <a:pt x="685" y="56"/>
                  </a:lnTo>
                  <a:lnTo>
                    <a:pt x="718" y="43"/>
                  </a:lnTo>
                  <a:lnTo>
                    <a:pt x="751" y="31"/>
                  </a:lnTo>
                  <a:lnTo>
                    <a:pt x="786" y="20"/>
                  </a:lnTo>
                  <a:lnTo>
                    <a:pt x="822" y="10"/>
                  </a:lnTo>
                  <a:lnTo>
                    <a:pt x="857" y="0"/>
                  </a:lnTo>
                  <a:lnTo>
                    <a:pt x="857" y="0"/>
                  </a:lnTo>
                  <a:lnTo>
                    <a:pt x="806" y="46"/>
                  </a:lnTo>
                  <a:lnTo>
                    <a:pt x="754" y="94"/>
                  </a:lnTo>
                  <a:lnTo>
                    <a:pt x="706" y="144"/>
                  </a:lnTo>
                  <a:lnTo>
                    <a:pt x="660" y="196"/>
                  </a:lnTo>
                  <a:lnTo>
                    <a:pt x="617" y="249"/>
                  </a:lnTo>
                  <a:lnTo>
                    <a:pt x="576" y="304"/>
                  </a:lnTo>
                  <a:lnTo>
                    <a:pt x="536" y="362"/>
                  </a:lnTo>
                  <a:lnTo>
                    <a:pt x="498" y="419"/>
                  </a:lnTo>
                  <a:lnTo>
                    <a:pt x="462" y="479"/>
                  </a:lnTo>
                  <a:lnTo>
                    <a:pt x="429" y="538"/>
                  </a:lnTo>
                  <a:lnTo>
                    <a:pt x="398" y="601"/>
                  </a:lnTo>
                  <a:lnTo>
                    <a:pt x="368" y="664"/>
                  </a:lnTo>
                  <a:lnTo>
                    <a:pt x="340" y="728"/>
                  </a:lnTo>
                  <a:lnTo>
                    <a:pt x="315" y="792"/>
                  </a:lnTo>
                  <a:lnTo>
                    <a:pt x="291" y="858"/>
                  </a:lnTo>
                  <a:lnTo>
                    <a:pt x="269" y="925"/>
                  </a:lnTo>
                  <a:lnTo>
                    <a:pt x="249" y="992"/>
                  </a:lnTo>
                  <a:lnTo>
                    <a:pt x="229" y="1060"/>
                  </a:lnTo>
                  <a:lnTo>
                    <a:pt x="213" y="1128"/>
                  </a:lnTo>
                  <a:lnTo>
                    <a:pt x="198" y="1197"/>
                  </a:lnTo>
                  <a:lnTo>
                    <a:pt x="185" y="1266"/>
                  </a:lnTo>
                  <a:lnTo>
                    <a:pt x="173" y="1336"/>
                  </a:lnTo>
                  <a:lnTo>
                    <a:pt x="162" y="1405"/>
                  </a:lnTo>
                  <a:lnTo>
                    <a:pt x="154" y="1474"/>
                  </a:lnTo>
                  <a:lnTo>
                    <a:pt x="147" y="1544"/>
                  </a:lnTo>
                  <a:lnTo>
                    <a:pt x="140" y="1613"/>
                  </a:lnTo>
                  <a:lnTo>
                    <a:pt x="137" y="1682"/>
                  </a:lnTo>
                  <a:lnTo>
                    <a:pt x="134" y="1752"/>
                  </a:lnTo>
                  <a:lnTo>
                    <a:pt x="132" y="1821"/>
                  </a:lnTo>
                  <a:lnTo>
                    <a:pt x="132" y="1889"/>
                  </a:lnTo>
                  <a:lnTo>
                    <a:pt x="134" y="1956"/>
                  </a:lnTo>
                  <a:lnTo>
                    <a:pt x="135" y="2024"/>
                  </a:lnTo>
                  <a:lnTo>
                    <a:pt x="0" y="2024"/>
                  </a:lnTo>
                  <a:lnTo>
                    <a:pt x="0" y="776"/>
                  </a:lnTo>
                  <a:lnTo>
                    <a:pt x="0" y="776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  <a:alpha val="44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0" y="3372643"/>
              <a:ext cx="2894584" cy="2154524"/>
            </a:xfrm>
            <a:custGeom>
              <a:avLst/>
              <a:gdLst/>
              <a:ahLst/>
              <a:cxnLst>
                <a:cxn ang="0">
                  <a:pos x="0" y="118"/>
                </a:cxn>
                <a:cxn ang="0">
                  <a:pos x="165" y="69"/>
                </a:cxn>
                <a:cxn ang="0">
                  <a:pos x="327" y="33"/>
                </a:cxn>
                <a:cxn ang="0">
                  <a:pos x="487" y="11"/>
                </a:cxn>
                <a:cxn ang="0">
                  <a:pos x="645" y="1"/>
                </a:cxn>
                <a:cxn ang="0">
                  <a:pos x="797" y="1"/>
                </a:cxn>
                <a:cxn ang="0">
                  <a:pos x="946" y="13"/>
                </a:cxn>
                <a:cxn ang="0">
                  <a:pos x="1088" y="33"/>
                </a:cxn>
                <a:cxn ang="0">
                  <a:pos x="1225" y="62"/>
                </a:cxn>
                <a:cxn ang="0">
                  <a:pos x="1352" y="97"/>
                </a:cxn>
                <a:cxn ang="0">
                  <a:pos x="1472" y="138"/>
                </a:cxn>
                <a:cxn ang="0">
                  <a:pos x="1585" y="184"/>
                </a:cxn>
                <a:cxn ang="0">
                  <a:pos x="1685" y="236"/>
                </a:cxn>
                <a:cxn ang="0">
                  <a:pos x="1776" y="288"/>
                </a:cxn>
                <a:cxn ang="0">
                  <a:pos x="1854" y="343"/>
                </a:cxn>
                <a:cxn ang="0">
                  <a:pos x="1921" y="399"/>
                </a:cxn>
                <a:cxn ang="0">
                  <a:pos x="1974" y="455"/>
                </a:cxn>
                <a:cxn ang="0">
                  <a:pos x="1920" y="434"/>
                </a:cxn>
                <a:cxn ang="0">
                  <a:pos x="1804" y="394"/>
                </a:cxn>
                <a:cxn ang="0">
                  <a:pos x="1680" y="361"/>
                </a:cxn>
                <a:cxn ang="0">
                  <a:pos x="1548" y="338"/>
                </a:cxn>
                <a:cxn ang="0">
                  <a:pos x="1413" y="323"/>
                </a:cxn>
                <a:cxn ang="0">
                  <a:pos x="1273" y="321"/>
                </a:cxn>
                <a:cxn ang="0">
                  <a:pos x="1132" y="331"/>
                </a:cxn>
                <a:cxn ang="0">
                  <a:pos x="990" y="356"/>
                </a:cxn>
                <a:cxn ang="0">
                  <a:pos x="919" y="374"/>
                </a:cxn>
                <a:cxn ang="0">
                  <a:pos x="850" y="396"/>
                </a:cxn>
                <a:cxn ang="0">
                  <a:pos x="781" y="424"/>
                </a:cxn>
                <a:cxn ang="0">
                  <a:pos x="711" y="455"/>
                </a:cxn>
                <a:cxn ang="0">
                  <a:pos x="645" y="490"/>
                </a:cxn>
                <a:cxn ang="0">
                  <a:pos x="579" y="531"/>
                </a:cxn>
                <a:cxn ang="0">
                  <a:pos x="515" y="577"/>
                </a:cxn>
                <a:cxn ang="0">
                  <a:pos x="452" y="629"/>
                </a:cxn>
                <a:cxn ang="0">
                  <a:pos x="391" y="685"/>
                </a:cxn>
                <a:cxn ang="0">
                  <a:pos x="333" y="747"/>
                </a:cxn>
                <a:cxn ang="0">
                  <a:pos x="277" y="815"/>
                </a:cxn>
                <a:cxn ang="0">
                  <a:pos x="223" y="889"/>
                </a:cxn>
                <a:cxn ang="0">
                  <a:pos x="172" y="970"/>
                </a:cxn>
                <a:cxn ang="0">
                  <a:pos x="124" y="1056"/>
                </a:cxn>
                <a:cxn ang="0">
                  <a:pos x="79" y="1150"/>
                </a:cxn>
                <a:cxn ang="0">
                  <a:pos x="38" y="1249"/>
                </a:cxn>
                <a:cxn ang="0">
                  <a:pos x="0" y="1357"/>
                </a:cxn>
                <a:cxn ang="0">
                  <a:pos x="0" y="118"/>
                </a:cxn>
              </a:cxnLst>
              <a:rect l="0" t="0" r="r" b="b"/>
              <a:pathLst>
                <a:path w="1974" h="1357">
                  <a:moveTo>
                    <a:pt x="0" y="118"/>
                  </a:moveTo>
                  <a:lnTo>
                    <a:pt x="0" y="118"/>
                  </a:lnTo>
                  <a:lnTo>
                    <a:pt x="83" y="92"/>
                  </a:lnTo>
                  <a:lnTo>
                    <a:pt x="165" y="69"/>
                  </a:lnTo>
                  <a:lnTo>
                    <a:pt x="246" y="49"/>
                  </a:lnTo>
                  <a:lnTo>
                    <a:pt x="327" y="33"/>
                  </a:lnTo>
                  <a:lnTo>
                    <a:pt x="408" y="21"/>
                  </a:lnTo>
                  <a:lnTo>
                    <a:pt x="487" y="11"/>
                  </a:lnTo>
                  <a:lnTo>
                    <a:pt x="566" y="5"/>
                  </a:lnTo>
                  <a:lnTo>
                    <a:pt x="645" y="1"/>
                  </a:lnTo>
                  <a:lnTo>
                    <a:pt x="721" y="0"/>
                  </a:lnTo>
                  <a:lnTo>
                    <a:pt x="797" y="1"/>
                  </a:lnTo>
                  <a:lnTo>
                    <a:pt x="873" y="6"/>
                  </a:lnTo>
                  <a:lnTo>
                    <a:pt x="946" y="13"/>
                  </a:lnTo>
                  <a:lnTo>
                    <a:pt x="1018" y="23"/>
                  </a:lnTo>
                  <a:lnTo>
                    <a:pt x="1088" y="33"/>
                  </a:lnTo>
                  <a:lnTo>
                    <a:pt x="1157" y="47"/>
                  </a:lnTo>
                  <a:lnTo>
                    <a:pt x="1225" y="62"/>
                  </a:lnTo>
                  <a:lnTo>
                    <a:pt x="1289" y="79"/>
                  </a:lnTo>
                  <a:lnTo>
                    <a:pt x="1352" y="97"/>
                  </a:lnTo>
                  <a:lnTo>
                    <a:pt x="1413" y="117"/>
                  </a:lnTo>
                  <a:lnTo>
                    <a:pt x="1472" y="138"/>
                  </a:lnTo>
                  <a:lnTo>
                    <a:pt x="1530" y="161"/>
                  </a:lnTo>
                  <a:lnTo>
                    <a:pt x="1585" y="184"/>
                  </a:lnTo>
                  <a:lnTo>
                    <a:pt x="1636" y="209"/>
                  </a:lnTo>
                  <a:lnTo>
                    <a:pt x="1685" y="236"/>
                  </a:lnTo>
                  <a:lnTo>
                    <a:pt x="1732" y="262"/>
                  </a:lnTo>
                  <a:lnTo>
                    <a:pt x="1776" y="288"/>
                  </a:lnTo>
                  <a:lnTo>
                    <a:pt x="1816" y="315"/>
                  </a:lnTo>
                  <a:lnTo>
                    <a:pt x="1854" y="343"/>
                  </a:lnTo>
                  <a:lnTo>
                    <a:pt x="1888" y="371"/>
                  </a:lnTo>
                  <a:lnTo>
                    <a:pt x="1921" y="399"/>
                  </a:lnTo>
                  <a:lnTo>
                    <a:pt x="1949" y="427"/>
                  </a:lnTo>
                  <a:lnTo>
                    <a:pt x="1974" y="455"/>
                  </a:lnTo>
                  <a:lnTo>
                    <a:pt x="1974" y="455"/>
                  </a:lnTo>
                  <a:lnTo>
                    <a:pt x="1920" y="434"/>
                  </a:lnTo>
                  <a:lnTo>
                    <a:pt x="1864" y="412"/>
                  </a:lnTo>
                  <a:lnTo>
                    <a:pt x="1804" y="394"/>
                  </a:lnTo>
                  <a:lnTo>
                    <a:pt x="1743" y="376"/>
                  </a:lnTo>
                  <a:lnTo>
                    <a:pt x="1680" y="361"/>
                  </a:lnTo>
                  <a:lnTo>
                    <a:pt x="1614" y="348"/>
                  </a:lnTo>
                  <a:lnTo>
                    <a:pt x="1548" y="338"/>
                  </a:lnTo>
                  <a:lnTo>
                    <a:pt x="1481" y="330"/>
                  </a:lnTo>
                  <a:lnTo>
                    <a:pt x="1413" y="323"/>
                  </a:lnTo>
                  <a:lnTo>
                    <a:pt x="1344" y="320"/>
                  </a:lnTo>
                  <a:lnTo>
                    <a:pt x="1273" y="321"/>
                  </a:lnTo>
                  <a:lnTo>
                    <a:pt x="1203" y="325"/>
                  </a:lnTo>
                  <a:lnTo>
                    <a:pt x="1132" y="331"/>
                  </a:lnTo>
                  <a:lnTo>
                    <a:pt x="1061" y="341"/>
                  </a:lnTo>
                  <a:lnTo>
                    <a:pt x="990" y="356"/>
                  </a:lnTo>
                  <a:lnTo>
                    <a:pt x="954" y="364"/>
                  </a:lnTo>
                  <a:lnTo>
                    <a:pt x="919" y="374"/>
                  </a:lnTo>
                  <a:lnTo>
                    <a:pt x="885" y="384"/>
                  </a:lnTo>
                  <a:lnTo>
                    <a:pt x="850" y="396"/>
                  </a:lnTo>
                  <a:lnTo>
                    <a:pt x="815" y="409"/>
                  </a:lnTo>
                  <a:lnTo>
                    <a:pt x="781" y="424"/>
                  </a:lnTo>
                  <a:lnTo>
                    <a:pt x="746" y="439"/>
                  </a:lnTo>
                  <a:lnTo>
                    <a:pt x="711" y="455"/>
                  </a:lnTo>
                  <a:lnTo>
                    <a:pt x="678" y="472"/>
                  </a:lnTo>
                  <a:lnTo>
                    <a:pt x="645" y="490"/>
                  </a:lnTo>
                  <a:lnTo>
                    <a:pt x="612" y="510"/>
                  </a:lnTo>
                  <a:lnTo>
                    <a:pt x="579" y="531"/>
                  </a:lnTo>
                  <a:lnTo>
                    <a:pt x="546" y="554"/>
                  </a:lnTo>
                  <a:lnTo>
                    <a:pt x="515" y="577"/>
                  </a:lnTo>
                  <a:lnTo>
                    <a:pt x="484" y="602"/>
                  </a:lnTo>
                  <a:lnTo>
                    <a:pt x="452" y="629"/>
                  </a:lnTo>
                  <a:lnTo>
                    <a:pt x="421" y="657"/>
                  </a:lnTo>
                  <a:lnTo>
                    <a:pt x="391" y="685"/>
                  </a:lnTo>
                  <a:lnTo>
                    <a:pt x="361" y="716"/>
                  </a:lnTo>
                  <a:lnTo>
                    <a:pt x="333" y="747"/>
                  </a:lnTo>
                  <a:lnTo>
                    <a:pt x="304" y="780"/>
                  </a:lnTo>
                  <a:lnTo>
                    <a:pt x="277" y="815"/>
                  </a:lnTo>
                  <a:lnTo>
                    <a:pt x="249" y="851"/>
                  </a:lnTo>
                  <a:lnTo>
                    <a:pt x="223" y="889"/>
                  </a:lnTo>
                  <a:lnTo>
                    <a:pt x="198" y="929"/>
                  </a:lnTo>
                  <a:lnTo>
                    <a:pt x="172" y="970"/>
                  </a:lnTo>
                  <a:lnTo>
                    <a:pt x="149" y="1012"/>
                  </a:lnTo>
                  <a:lnTo>
                    <a:pt x="124" y="1056"/>
                  </a:lnTo>
                  <a:lnTo>
                    <a:pt x="101" y="1102"/>
                  </a:lnTo>
                  <a:lnTo>
                    <a:pt x="79" y="1150"/>
                  </a:lnTo>
                  <a:lnTo>
                    <a:pt x="58" y="1198"/>
                  </a:lnTo>
                  <a:lnTo>
                    <a:pt x="38" y="1249"/>
                  </a:lnTo>
                  <a:lnTo>
                    <a:pt x="18" y="1302"/>
                  </a:lnTo>
                  <a:lnTo>
                    <a:pt x="0" y="1357"/>
                  </a:lnTo>
                  <a:lnTo>
                    <a:pt x="0" y="118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1504189" y="5587609"/>
              <a:ext cx="6518147" cy="5912495"/>
            </a:xfrm>
            <a:custGeom>
              <a:avLst/>
              <a:gdLst/>
              <a:ahLst/>
              <a:cxnLst>
                <a:cxn ang="0">
                  <a:pos x="1377" y="130"/>
                </a:cxn>
                <a:cxn ang="0">
                  <a:pos x="1299" y="89"/>
                </a:cxn>
                <a:cxn ang="0">
                  <a:pos x="1220" y="56"/>
                </a:cxn>
                <a:cxn ang="0">
                  <a:pos x="1137" y="30"/>
                </a:cxn>
                <a:cxn ang="0">
                  <a:pos x="1052" y="11"/>
                </a:cxn>
                <a:cxn ang="0">
                  <a:pos x="966" y="2"/>
                </a:cxn>
                <a:cxn ang="0">
                  <a:pos x="880" y="0"/>
                </a:cxn>
                <a:cxn ang="0">
                  <a:pos x="794" y="5"/>
                </a:cxn>
                <a:cxn ang="0">
                  <a:pos x="708" y="18"/>
                </a:cxn>
                <a:cxn ang="0">
                  <a:pos x="624" y="40"/>
                </a:cxn>
                <a:cxn ang="0">
                  <a:pos x="543" y="69"/>
                </a:cxn>
                <a:cxn ang="0">
                  <a:pos x="466" y="107"/>
                </a:cxn>
                <a:cxn ang="0">
                  <a:pos x="391" y="155"/>
                </a:cxn>
                <a:cxn ang="0">
                  <a:pos x="322" y="210"/>
                </a:cxn>
                <a:cxn ang="0">
                  <a:pos x="258" y="272"/>
                </a:cxn>
                <a:cxn ang="0">
                  <a:pos x="200" y="345"/>
                </a:cxn>
                <a:cxn ang="0">
                  <a:pos x="149" y="426"/>
                </a:cxn>
                <a:cxn ang="0">
                  <a:pos x="124" y="472"/>
                </a:cxn>
                <a:cxn ang="0">
                  <a:pos x="83" y="568"/>
                </a:cxn>
                <a:cxn ang="0">
                  <a:pos x="48" y="667"/>
                </a:cxn>
                <a:cxn ang="0">
                  <a:pos x="23" y="769"/>
                </a:cxn>
                <a:cxn ang="0">
                  <a:pos x="7" y="875"/>
                </a:cxn>
                <a:cxn ang="0">
                  <a:pos x="0" y="982"/>
                </a:cxn>
                <a:cxn ang="0">
                  <a:pos x="2" y="1090"/>
                </a:cxn>
                <a:cxn ang="0">
                  <a:pos x="12" y="1200"/>
                </a:cxn>
                <a:cxn ang="0">
                  <a:pos x="31" y="1311"/>
                </a:cxn>
                <a:cxn ang="0">
                  <a:pos x="61" y="1420"/>
                </a:cxn>
                <a:cxn ang="0">
                  <a:pos x="101" y="1529"/>
                </a:cxn>
                <a:cxn ang="0">
                  <a:pos x="149" y="1636"/>
                </a:cxn>
                <a:cxn ang="0">
                  <a:pos x="206" y="1742"/>
                </a:cxn>
                <a:cxn ang="0">
                  <a:pos x="274" y="1844"/>
                </a:cxn>
                <a:cxn ang="0">
                  <a:pos x="353" y="1943"/>
                </a:cxn>
                <a:cxn ang="0">
                  <a:pos x="441" y="2039"/>
                </a:cxn>
                <a:cxn ang="0">
                  <a:pos x="2552" y="2085"/>
                </a:cxn>
                <a:cxn ang="0">
                  <a:pos x="2526" y="2070"/>
                </a:cxn>
                <a:cxn ang="0">
                  <a:pos x="2336" y="1955"/>
                </a:cxn>
                <a:cxn ang="0">
                  <a:pos x="2192" y="1860"/>
                </a:cxn>
                <a:cxn ang="0">
                  <a:pos x="2025" y="1748"/>
                </a:cxn>
                <a:cxn ang="0">
                  <a:pos x="1849" y="1619"/>
                </a:cxn>
                <a:cxn ang="0">
                  <a:pos x="1667" y="1477"/>
                </a:cxn>
                <a:cxn ang="0">
                  <a:pos x="1492" y="1326"/>
                </a:cxn>
                <a:cxn ang="0">
                  <a:pos x="1410" y="1246"/>
                </a:cxn>
                <a:cxn ang="0">
                  <a:pos x="1332" y="1167"/>
                </a:cxn>
                <a:cxn ang="0">
                  <a:pos x="1261" y="1086"/>
                </a:cxn>
                <a:cxn ang="0">
                  <a:pos x="1195" y="1004"/>
                </a:cxn>
                <a:cxn ang="0">
                  <a:pos x="1139" y="923"/>
                </a:cxn>
                <a:cxn ang="0">
                  <a:pos x="1091" y="840"/>
                </a:cxn>
                <a:cxn ang="0">
                  <a:pos x="1055" y="761"/>
                </a:cxn>
                <a:cxn ang="0">
                  <a:pos x="1030" y="680"/>
                </a:cxn>
                <a:cxn ang="0">
                  <a:pos x="1017" y="602"/>
                </a:cxn>
                <a:cxn ang="0">
                  <a:pos x="1019" y="527"/>
                </a:cxn>
                <a:cxn ang="0">
                  <a:pos x="1028" y="470"/>
                </a:cxn>
                <a:cxn ang="0">
                  <a:pos x="1040" y="434"/>
                </a:cxn>
                <a:cxn ang="0">
                  <a:pos x="1057" y="398"/>
                </a:cxn>
                <a:cxn ang="0">
                  <a:pos x="1076" y="363"/>
                </a:cxn>
                <a:cxn ang="0">
                  <a:pos x="1101" y="330"/>
                </a:cxn>
                <a:cxn ang="0">
                  <a:pos x="1131" y="295"/>
                </a:cxn>
                <a:cxn ang="0">
                  <a:pos x="1182" y="248"/>
                </a:cxn>
                <a:cxn ang="0">
                  <a:pos x="1269" y="186"/>
                </a:cxn>
                <a:cxn ang="0">
                  <a:pos x="1377" y="130"/>
                </a:cxn>
              </a:cxnLst>
              <a:rect l="0" t="0" r="r" b="b"/>
              <a:pathLst>
                <a:path w="2552" h="2085">
                  <a:moveTo>
                    <a:pt x="1377" y="130"/>
                  </a:moveTo>
                  <a:lnTo>
                    <a:pt x="1377" y="130"/>
                  </a:lnTo>
                  <a:lnTo>
                    <a:pt x="1339" y="109"/>
                  </a:lnTo>
                  <a:lnTo>
                    <a:pt x="1299" y="89"/>
                  </a:lnTo>
                  <a:lnTo>
                    <a:pt x="1260" y="73"/>
                  </a:lnTo>
                  <a:lnTo>
                    <a:pt x="1220" y="56"/>
                  </a:lnTo>
                  <a:lnTo>
                    <a:pt x="1179" y="43"/>
                  </a:lnTo>
                  <a:lnTo>
                    <a:pt x="1137" y="30"/>
                  </a:lnTo>
                  <a:lnTo>
                    <a:pt x="1094" y="20"/>
                  </a:lnTo>
                  <a:lnTo>
                    <a:pt x="1052" y="11"/>
                  </a:lnTo>
                  <a:lnTo>
                    <a:pt x="1009" y="7"/>
                  </a:lnTo>
                  <a:lnTo>
                    <a:pt x="966" y="2"/>
                  </a:lnTo>
                  <a:lnTo>
                    <a:pt x="923" y="0"/>
                  </a:lnTo>
                  <a:lnTo>
                    <a:pt x="880" y="0"/>
                  </a:lnTo>
                  <a:lnTo>
                    <a:pt x="837" y="2"/>
                  </a:lnTo>
                  <a:lnTo>
                    <a:pt x="794" y="5"/>
                  </a:lnTo>
                  <a:lnTo>
                    <a:pt x="751" y="10"/>
                  </a:lnTo>
                  <a:lnTo>
                    <a:pt x="708" y="18"/>
                  </a:lnTo>
                  <a:lnTo>
                    <a:pt x="667" y="28"/>
                  </a:lnTo>
                  <a:lnTo>
                    <a:pt x="624" y="40"/>
                  </a:lnTo>
                  <a:lnTo>
                    <a:pt x="584" y="54"/>
                  </a:lnTo>
                  <a:lnTo>
                    <a:pt x="543" y="69"/>
                  </a:lnTo>
                  <a:lnTo>
                    <a:pt x="504" y="87"/>
                  </a:lnTo>
                  <a:lnTo>
                    <a:pt x="466" y="107"/>
                  </a:lnTo>
                  <a:lnTo>
                    <a:pt x="428" y="130"/>
                  </a:lnTo>
                  <a:lnTo>
                    <a:pt x="391" y="155"/>
                  </a:lnTo>
                  <a:lnTo>
                    <a:pt x="357" y="182"/>
                  </a:lnTo>
                  <a:lnTo>
                    <a:pt x="322" y="210"/>
                  </a:lnTo>
                  <a:lnTo>
                    <a:pt x="289" y="241"/>
                  </a:lnTo>
                  <a:lnTo>
                    <a:pt x="258" y="272"/>
                  </a:lnTo>
                  <a:lnTo>
                    <a:pt x="228" y="309"/>
                  </a:lnTo>
                  <a:lnTo>
                    <a:pt x="200" y="345"/>
                  </a:lnTo>
                  <a:lnTo>
                    <a:pt x="173" y="385"/>
                  </a:lnTo>
                  <a:lnTo>
                    <a:pt x="149" y="426"/>
                  </a:lnTo>
                  <a:lnTo>
                    <a:pt x="149" y="426"/>
                  </a:lnTo>
                  <a:lnTo>
                    <a:pt x="124" y="472"/>
                  </a:lnTo>
                  <a:lnTo>
                    <a:pt x="102" y="520"/>
                  </a:lnTo>
                  <a:lnTo>
                    <a:pt x="83" y="568"/>
                  </a:lnTo>
                  <a:lnTo>
                    <a:pt x="64" y="617"/>
                  </a:lnTo>
                  <a:lnTo>
                    <a:pt x="48" y="667"/>
                  </a:lnTo>
                  <a:lnTo>
                    <a:pt x="35" y="718"/>
                  </a:lnTo>
                  <a:lnTo>
                    <a:pt x="23" y="769"/>
                  </a:lnTo>
                  <a:lnTo>
                    <a:pt x="15" y="822"/>
                  </a:lnTo>
                  <a:lnTo>
                    <a:pt x="7" y="875"/>
                  </a:lnTo>
                  <a:lnTo>
                    <a:pt x="2" y="928"/>
                  </a:lnTo>
                  <a:lnTo>
                    <a:pt x="0" y="982"/>
                  </a:lnTo>
                  <a:lnTo>
                    <a:pt x="0" y="1035"/>
                  </a:lnTo>
                  <a:lnTo>
                    <a:pt x="2" y="1090"/>
                  </a:lnTo>
                  <a:lnTo>
                    <a:pt x="5" y="1146"/>
                  </a:lnTo>
                  <a:lnTo>
                    <a:pt x="12" y="1200"/>
                  </a:lnTo>
                  <a:lnTo>
                    <a:pt x="22" y="1255"/>
                  </a:lnTo>
                  <a:lnTo>
                    <a:pt x="31" y="1311"/>
                  </a:lnTo>
                  <a:lnTo>
                    <a:pt x="46" y="1365"/>
                  </a:lnTo>
                  <a:lnTo>
                    <a:pt x="61" y="1420"/>
                  </a:lnTo>
                  <a:lnTo>
                    <a:pt x="79" y="1474"/>
                  </a:lnTo>
                  <a:lnTo>
                    <a:pt x="101" y="1529"/>
                  </a:lnTo>
                  <a:lnTo>
                    <a:pt x="124" y="1583"/>
                  </a:lnTo>
                  <a:lnTo>
                    <a:pt x="149" y="1636"/>
                  </a:lnTo>
                  <a:lnTo>
                    <a:pt x="177" y="1689"/>
                  </a:lnTo>
                  <a:lnTo>
                    <a:pt x="206" y="1742"/>
                  </a:lnTo>
                  <a:lnTo>
                    <a:pt x="239" y="1793"/>
                  </a:lnTo>
                  <a:lnTo>
                    <a:pt x="274" y="1844"/>
                  </a:lnTo>
                  <a:lnTo>
                    <a:pt x="312" y="1895"/>
                  </a:lnTo>
                  <a:lnTo>
                    <a:pt x="353" y="1943"/>
                  </a:lnTo>
                  <a:lnTo>
                    <a:pt x="396" y="1993"/>
                  </a:lnTo>
                  <a:lnTo>
                    <a:pt x="441" y="2039"/>
                  </a:lnTo>
                  <a:lnTo>
                    <a:pt x="489" y="2085"/>
                  </a:lnTo>
                  <a:lnTo>
                    <a:pt x="2552" y="2085"/>
                  </a:lnTo>
                  <a:lnTo>
                    <a:pt x="2552" y="2085"/>
                  </a:lnTo>
                  <a:lnTo>
                    <a:pt x="2526" y="2070"/>
                  </a:lnTo>
                  <a:lnTo>
                    <a:pt x="2450" y="2026"/>
                  </a:lnTo>
                  <a:lnTo>
                    <a:pt x="2336" y="1955"/>
                  </a:lnTo>
                  <a:lnTo>
                    <a:pt x="2266" y="1910"/>
                  </a:lnTo>
                  <a:lnTo>
                    <a:pt x="2192" y="1860"/>
                  </a:lnTo>
                  <a:lnTo>
                    <a:pt x="2111" y="1808"/>
                  </a:lnTo>
                  <a:lnTo>
                    <a:pt x="2025" y="1748"/>
                  </a:lnTo>
                  <a:lnTo>
                    <a:pt x="1938" y="1685"/>
                  </a:lnTo>
                  <a:lnTo>
                    <a:pt x="1849" y="1619"/>
                  </a:lnTo>
                  <a:lnTo>
                    <a:pt x="1758" y="1550"/>
                  </a:lnTo>
                  <a:lnTo>
                    <a:pt x="1667" y="1477"/>
                  </a:lnTo>
                  <a:lnTo>
                    <a:pt x="1578" y="1403"/>
                  </a:lnTo>
                  <a:lnTo>
                    <a:pt x="1492" y="1326"/>
                  </a:lnTo>
                  <a:lnTo>
                    <a:pt x="1451" y="1286"/>
                  </a:lnTo>
                  <a:lnTo>
                    <a:pt x="1410" y="1246"/>
                  </a:lnTo>
                  <a:lnTo>
                    <a:pt x="1370" y="1207"/>
                  </a:lnTo>
                  <a:lnTo>
                    <a:pt x="1332" y="1167"/>
                  </a:lnTo>
                  <a:lnTo>
                    <a:pt x="1296" y="1126"/>
                  </a:lnTo>
                  <a:lnTo>
                    <a:pt x="1261" y="1086"/>
                  </a:lnTo>
                  <a:lnTo>
                    <a:pt x="1227" y="1045"/>
                  </a:lnTo>
                  <a:lnTo>
                    <a:pt x="1195" y="1004"/>
                  </a:lnTo>
                  <a:lnTo>
                    <a:pt x="1167" y="962"/>
                  </a:lnTo>
                  <a:lnTo>
                    <a:pt x="1139" y="923"/>
                  </a:lnTo>
                  <a:lnTo>
                    <a:pt x="1114" y="881"/>
                  </a:lnTo>
                  <a:lnTo>
                    <a:pt x="1091" y="840"/>
                  </a:lnTo>
                  <a:lnTo>
                    <a:pt x="1071" y="801"/>
                  </a:lnTo>
                  <a:lnTo>
                    <a:pt x="1055" y="761"/>
                  </a:lnTo>
                  <a:lnTo>
                    <a:pt x="1042" y="720"/>
                  </a:lnTo>
                  <a:lnTo>
                    <a:pt x="1030" y="680"/>
                  </a:lnTo>
                  <a:lnTo>
                    <a:pt x="1022" y="642"/>
                  </a:lnTo>
                  <a:lnTo>
                    <a:pt x="1017" y="602"/>
                  </a:lnTo>
                  <a:lnTo>
                    <a:pt x="1015" y="565"/>
                  </a:lnTo>
                  <a:lnTo>
                    <a:pt x="1019" y="527"/>
                  </a:lnTo>
                  <a:lnTo>
                    <a:pt x="1023" y="489"/>
                  </a:lnTo>
                  <a:lnTo>
                    <a:pt x="1028" y="470"/>
                  </a:lnTo>
                  <a:lnTo>
                    <a:pt x="1033" y="452"/>
                  </a:lnTo>
                  <a:lnTo>
                    <a:pt x="1040" y="434"/>
                  </a:lnTo>
                  <a:lnTo>
                    <a:pt x="1048" y="416"/>
                  </a:lnTo>
                  <a:lnTo>
                    <a:pt x="1057" y="398"/>
                  </a:lnTo>
                  <a:lnTo>
                    <a:pt x="1066" y="381"/>
                  </a:lnTo>
                  <a:lnTo>
                    <a:pt x="1076" y="363"/>
                  </a:lnTo>
                  <a:lnTo>
                    <a:pt x="1088" y="347"/>
                  </a:lnTo>
                  <a:lnTo>
                    <a:pt x="1101" y="330"/>
                  </a:lnTo>
                  <a:lnTo>
                    <a:pt x="1116" y="312"/>
                  </a:lnTo>
                  <a:lnTo>
                    <a:pt x="1131" y="295"/>
                  </a:lnTo>
                  <a:lnTo>
                    <a:pt x="1147" y="281"/>
                  </a:lnTo>
                  <a:lnTo>
                    <a:pt x="1182" y="248"/>
                  </a:lnTo>
                  <a:lnTo>
                    <a:pt x="1223" y="216"/>
                  </a:lnTo>
                  <a:lnTo>
                    <a:pt x="1269" y="186"/>
                  </a:lnTo>
                  <a:lnTo>
                    <a:pt x="1321" y="158"/>
                  </a:lnTo>
                  <a:lnTo>
                    <a:pt x="1377" y="130"/>
                  </a:lnTo>
                  <a:lnTo>
                    <a:pt x="1377" y="130"/>
                  </a:lnTo>
                  <a:close/>
                </a:path>
              </a:pathLst>
            </a:custGeom>
            <a:solidFill>
              <a:schemeClr val="bg1">
                <a:lumMod val="95000"/>
                <a:alpha val="34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155701" y="5800928"/>
              <a:ext cx="3420872" cy="5699176"/>
            </a:xfrm>
            <a:custGeom>
              <a:avLst/>
              <a:gdLst/>
              <a:ahLst/>
              <a:cxnLst>
                <a:cxn ang="0">
                  <a:pos x="99" y="1804"/>
                </a:cxn>
                <a:cxn ang="0">
                  <a:pos x="57" y="1647"/>
                </a:cxn>
                <a:cxn ang="0">
                  <a:pos x="29" y="1492"/>
                </a:cxn>
                <a:cxn ang="0">
                  <a:pos x="10" y="1342"/>
                </a:cxn>
                <a:cxn ang="0">
                  <a:pos x="1" y="1195"/>
                </a:cxn>
                <a:cxn ang="0">
                  <a:pos x="1" y="1054"/>
                </a:cxn>
                <a:cxn ang="0">
                  <a:pos x="10" y="919"/>
                </a:cxn>
                <a:cxn ang="0">
                  <a:pos x="26" y="790"/>
                </a:cxn>
                <a:cxn ang="0">
                  <a:pos x="49" y="667"/>
                </a:cxn>
                <a:cxn ang="0">
                  <a:pos x="81" y="553"/>
                </a:cxn>
                <a:cxn ang="0">
                  <a:pos x="117" y="445"/>
                </a:cxn>
                <a:cxn ang="0">
                  <a:pos x="158" y="346"/>
                </a:cxn>
                <a:cxn ang="0">
                  <a:pos x="203" y="255"/>
                </a:cxn>
                <a:cxn ang="0">
                  <a:pos x="254" y="176"/>
                </a:cxn>
                <a:cxn ang="0">
                  <a:pos x="307" y="105"/>
                </a:cxn>
                <a:cxn ang="0">
                  <a:pos x="363" y="47"/>
                </a:cxn>
                <a:cxn ang="0">
                  <a:pos x="421" y="0"/>
                </a:cxn>
                <a:cxn ang="0">
                  <a:pos x="383" y="57"/>
                </a:cxn>
                <a:cxn ang="0">
                  <a:pos x="317" y="176"/>
                </a:cxn>
                <a:cxn ang="0">
                  <a:pos x="265" y="298"/>
                </a:cxn>
                <a:cxn ang="0">
                  <a:pos x="226" y="421"/>
                </a:cxn>
                <a:cxn ang="0">
                  <a:pos x="201" y="544"/>
                </a:cxn>
                <a:cxn ang="0">
                  <a:pos x="188" y="667"/>
                </a:cxn>
                <a:cxn ang="0">
                  <a:pos x="186" y="789"/>
                </a:cxn>
                <a:cxn ang="0">
                  <a:pos x="196" y="911"/>
                </a:cxn>
                <a:cxn ang="0">
                  <a:pos x="219" y="1030"/>
                </a:cxn>
                <a:cxn ang="0">
                  <a:pos x="252" y="1147"/>
                </a:cxn>
                <a:cxn ang="0">
                  <a:pos x="297" y="1261"/>
                </a:cxn>
                <a:cxn ang="0">
                  <a:pos x="351" y="1371"/>
                </a:cxn>
                <a:cxn ang="0">
                  <a:pos x="416" y="1477"/>
                </a:cxn>
                <a:cxn ang="0">
                  <a:pos x="492" y="1578"/>
                </a:cxn>
                <a:cxn ang="0">
                  <a:pos x="576" y="1674"/>
                </a:cxn>
                <a:cxn ang="0">
                  <a:pos x="668" y="1763"/>
                </a:cxn>
                <a:cxn ang="0">
                  <a:pos x="99" y="1804"/>
                </a:cxn>
              </a:cxnLst>
              <a:rect l="0" t="0" r="r" b="b"/>
              <a:pathLst>
                <a:path w="718" h="1804">
                  <a:moveTo>
                    <a:pt x="99" y="1804"/>
                  </a:moveTo>
                  <a:lnTo>
                    <a:pt x="99" y="1804"/>
                  </a:lnTo>
                  <a:lnTo>
                    <a:pt x="77" y="1725"/>
                  </a:lnTo>
                  <a:lnTo>
                    <a:pt x="57" y="1647"/>
                  </a:lnTo>
                  <a:lnTo>
                    <a:pt x="43" y="1570"/>
                  </a:lnTo>
                  <a:lnTo>
                    <a:pt x="29" y="1492"/>
                  </a:lnTo>
                  <a:lnTo>
                    <a:pt x="18" y="1416"/>
                  </a:lnTo>
                  <a:lnTo>
                    <a:pt x="10" y="1342"/>
                  </a:lnTo>
                  <a:lnTo>
                    <a:pt x="5" y="1267"/>
                  </a:lnTo>
                  <a:lnTo>
                    <a:pt x="1" y="1195"/>
                  </a:lnTo>
                  <a:lnTo>
                    <a:pt x="0" y="1124"/>
                  </a:lnTo>
                  <a:lnTo>
                    <a:pt x="1" y="1054"/>
                  </a:lnTo>
                  <a:lnTo>
                    <a:pt x="5" y="987"/>
                  </a:lnTo>
                  <a:lnTo>
                    <a:pt x="10" y="919"/>
                  </a:lnTo>
                  <a:lnTo>
                    <a:pt x="18" y="853"/>
                  </a:lnTo>
                  <a:lnTo>
                    <a:pt x="26" y="790"/>
                  </a:lnTo>
                  <a:lnTo>
                    <a:pt x="38" y="728"/>
                  </a:lnTo>
                  <a:lnTo>
                    <a:pt x="49" y="667"/>
                  </a:lnTo>
                  <a:lnTo>
                    <a:pt x="64" y="609"/>
                  </a:lnTo>
                  <a:lnTo>
                    <a:pt x="81" y="553"/>
                  </a:lnTo>
                  <a:lnTo>
                    <a:pt x="97" y="496"/>
                  </a:lnTo>
                  <a:lnTo>
                    <a:pt x="117" y="445"/>
                  </a:lnTo>
                  <a:lnTo>
                    <a:pt x="137" y="394"/>
                  </a:lnTo>
                  <a:lnTo>
                    <a:pt x="158" y="346"/>
                  </a:lnTo>
                  <a:lnTo>
                    <a:pt x="180" y="300"/>
                  </a:lnTo>
                  <a:lnTo>
                    <a:pt x="203" y="255"/>
                  </a:lnTo>
                  <a:lnTo>
                    <a:pt x="227" y="214"/>
                  </a:lnTo>
                  <a:lnTo>
                    <a:pt x="254" y="176"/>
                  </a:lnTo>
                  <a:lnTo>
                    <a:pt x="280" y="140"/>
                  </a:lnTo>
                  <a:lnTo>
                    <a:pt x="307" y="105"/>
                  </a:lnTo>
                  <a:lnTo>
                    <a:pt x="335" y="76"/>
                  </a:lnTo>
                  <a:lnTo>
                    <a:pt x="363" y="47"/>
                  </a:lnTo>
                  <a:lnTo>
                    <a:pt x="391" y="21"/>
                  </a:lnTo>
                  <a:lnTo>
                    <a:pt x="421" y="0"/>
                  </a:lnTo>
                  <a:lnTo>
                    <a:pt x="421" y="0"/>
                  </a:lnTo>
                  <a:lnTo>
                    <a:pt x="383" y="57"/>
                  </a:lnTo>
                  <a:lnTo>
                    <a:pt x="348" y="117"/>
                  </a:lnTo>
                  <a:lnTo>
                    <a:pt x="317" y="176"/>
                  </a:lnTo>
                  <a:lnTo>
                    <a:pt x="289" y="237"/>
                  </a:lnTo>
                  <a:lnTo>
                    <a:pt x="265" y="298"/>
                  </a:lnTo>
                  <a:lnTo>
                    <a:pt x="244" y="359"/>
                  </a:lnTo>
                  <a:lnTo>
                    <a:pt x="226" y="421"/>
                  </a:lnTo>
                  <a:lnTo>
                    <a:pt x="213" y="482"/>
                  </a:lnTo>
                  <a:lnTo>
                    <a:pt x="201" y="544"/>
                  </a:lnTo>
                  <a:lnTo>
                    <a:pt x="193" y="605"/>
                  </a:lnTo>
                  <a:lnTo>
                    <a:pt x="188" y="667"/>
                  </a:lnTo>
                  <a:lnTo>
                    <a:pt x="185" y="728"/>
                  </a:lnTo>
                  <a:lnTo>
                    <a:pt x="186" y="789"/>
                  </a:lnTo>
                  <a:lnTo>
                    <a:pt x="189" y="850"/>
                  </a:lnTo>
                  <a:lnTo>
                    <a:pt x="196" y="911"/>
                  </a:lnTo>
                  <a:lnTo>
                    <a:pt x="206" y="970"/>
                  </a:lnTo>
                  <a:lnTo>
                    <a:pt x="219" y="1030"/>
                  </a:lnTo>
                  <a:lnTo>
                    <a:pt x="234" y="1089"/>
                  </a:lnTo>
                  <a:lnTo>
                    <a:pt x="252" y="1147"/>
                  </a:lnTo>
                  <a:lnTo>
                    <a:pt x="274" y="1205"/>
                  </a:lnTo>
                  <a:lnTo>
                    <a:pt x="297" y="1261"/>
                  </a:lnTo>
                  <a:lnTo>
                    <a:pt x="323" y="1317"/>
                  </a:lnTo>
                  <a:lnTo>
                    <a:pt x="351" y="1371"/>
                  </a:lnTo>
                  <a:lnTo>
                    <a:pt x="383" y="1424"/>
                  </a:lnTo>
                  <a:lnTo>
                    <a:pt x="416" y="1477"/>
                  </a:lnTo>
                  <a:lnTo>
                    <a:pt x="452" y="1528"/>
                  </a:lnTo>
                  <a:lnTo>
                    <a:pt x="492" y="1578"/>
                  </a:lnTo>
                  <a:lnTo>
                    <a:pt x="531" y="1626"/>
                  </a:lnTo>
                  <a:lnTo>
                    <a:pt x="576" y="1674"/>
                  </a:lnTo>
                  <a:lnTo>
                    <a:pt x="620" y="1718"/>
                  </a:lnTo>
                  <a:lnTo>
                    <a:pt x="668" y="1763"/>
                  </a:lnTo>
                  <a:lnTo>
                    <a:pt x="718" y="1804"/>
                  </a:lnTo>
                  <a:lnTo>
                    <a:pt x="99" y="1804"/>
                  </a:lnTo>
                  <a:lnTo>
                    <a:pt x="99" y="1804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37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</p:grpSp>
      <p:pic>
        <p:nvPicPr>
          <p:cNvPr id="1033" name="Picture 17" descr="logo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994650" y="304800"/>
            <a:ext cx="7683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Rectangle 19"/>
          <p:cNvSpPr/>
          <p:nvPr/>
        </p:nvSpPr>
        <p:spPr>
          <a:xfrm>
            <a:off x="457200" y="1219200"/>
            <a:ext cx="8229600" cy="160338"/>
          </a:xfrm>
          <a:prstGeom prst="rect">
            <a:avLst/>
          </a:prstGeom>
          <a:solidFill>
            <a:srgbClr val="0F8BDF">
              <a:alpha val="9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26" name="Rectangle 25"/>
          <p:cNvSpPr/>
          <p:nvPr/>
        </p:nvSpPr>
        <p:spPr>
          <a:xfrm>
            <a:off x="0" y="6705600"/>
            <a:ext cx="9144000" cy="152400"/>
          </a:xfrm>
          <a:prstGeom prst="rect">
            <a:avLst/>
          </a:prstGeom>
          <a:solidFill>
            <a:srgbClr val="F46F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49" r:id="rId10"/>
    <p:sldLayoutId id="2147483950" r:id="rId11"/>
    <p:sldLayoutId id="2147483953" r:id="rId12"/>
    <p:sldLayoutId id="2147483954" r:id="rId13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kern="1200">
          <a:solidFill>
            <a:srgbClr val="0076A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0076A3"/>
          </a:solidFill>
          <a:latin typeface="Calibri" panose="020F050202020403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0076A3"/>
          </a:solidFill>
          <a:latin typeface="Calibri" panose="020F050202020403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0076A3"/>
          </a:solidFill>
          <a:latin typeface="Calibri" panose="020F050202020403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0076A3"/>
          </a:solidFill>
          <a:latin typeface="Calibri" panose="020F050202020403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076A3"/>
          </a:solidFill>
          <a:latin typeface="Calibri" panose="020F050202020403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076A3"/>
          </a:solidFill>
          <a:latin typeface="Calibri" panose="020F050202020403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076A3"/>
          </a:solidFill>
          <a:latin typeface="Calibri" panose="020F050202020403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0076A3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rgbClr val="0B5395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rgbClr val="0B5395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ern="1200">
          <a:solidFill>
            <a:srgbClr val="0B5395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0B5395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0B53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jpeg"/><Relationship Id="rId12" Type="http://schemas.openxmlformats.org/officeDocument/2006/relationships/image" Target="../media/image9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4.jpeg"/><Relationship Id="rId11" Type="http://schemas.openxmlformats.org/officeDocument/2006/relationships/image" Target="../media/image8.jpeg"/><Relationship Id="rId5" Type="http://schemas.openxmlformats.org/officeDocument/2006/relationships/image" Target="../media/image3.jpeg"/><Relationship Id="rId10" Type="http://schemas.openxmlformats.org/officeDocument/2006/relationships/image" Target="../media/image7.jpeg"/><Relationship Id="rId4" Type="http://schemas.openxmlformats.org/officeDocument/2006/relationships/image" Target="../media/image2.jpeg"/><Relationship Id="rId9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13" Type="http://schemas.openxmlformats.org/officeDocument/2006/relationships/image" Target="../media/image23.jpeg"/><Relationship Id="rId3" Type="http://schemas.openxmlformats.org/officeDocument/2006/relationships/diagramData" Target="../diagrams/data6.xml"/><Relationship Id="rId7" Type="http://schemas.openxmlformats.org/officeDocument/2006/relationships/image" Target="../media/image21.jpeg"/><Relationship Id="rId12" Type="http://schemas.openxmlformats.org/officeDocument/2006/relationships/image" Target="../media/image2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11" Type="http://schemas.openxmlformats.org/officeDocument/2006/relationships/diagramColors" Target="../diagrams/colors7.xml"/><Relationship Id="rId5" Type="http://schemas.openxmlformats.org/officeDocument/2006/relationships/diagramQuickStyle" Target="../diagrams/quickStyle6.xml"/><Relationship Id="rId15" Type="http://schemas.microsoft.com/office/2007/relationships/diagramDrawing" Target="../diagrams/drawing6.xml"/><Relationship Id="rId10" Type="http://schemas.openxmlformats.org/officeDocument/2006/relationships/diagramQuickStyle" Target="../diagrams/quickStyle7.xml"/><Relationship Id="rId4" Type="http://schemas.openxmlformats.org/officeDocument/2006/relationships/diagramLayout" Target="../diagrams/layout6.xml"/><Relationship Id="rId9" Type="http://schemas.openxmlformats.org/officeDocument/2006/relationships/diagramLayout" Target="../diagrams/layout7.xml"/><Relationship Id="rId14" Type="http://schemas.microsoft.com/office/2007/relationships/diagramDrawing" Target="../diagrams/drawing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Microsoft_Office_Excel_97-2003_Worksheet1.xls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Microsoft_Office_Excel_97-2003_Worksheet2.xls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diagramData" Target="../diagrams/data8.xml"/><Relationship Id="rId7" Type="http://schemas.openxmlformats.org/officeDocument/2006/relationships/chart" Target="../charts/chart9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Relationship Id="rId9" Type="http://schemas.microsoft.com/office/2007/relationships/diagramDrawing" Target="../diagrams/drawing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48.jpeg"/><Relationship Id="rId4" Type="http://schemas.openxmlformats.org/officeDocument/2006/relationships/image" Target="../media/image11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Microsoft_Office_Excel_97-2003_Worksheet3.xls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48.jpe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13" Type="http://schemas.openxmlformats.org/officeDocument/2006/relationships/diagramQuickStyle" Target="../diagrams/quickStyle3.xml"/><Relationship Id="rId18" Type="http://schemas.openxmlformats.org/officeDocument/2006/relationships/image" Target="../media/image9.jpeg"/><Relationship Id="rId3" Type="http://schemas.openxmlformats.org/officeDocument/2006/relationships/image" Target="../media/image18.jpeg"/><Relationship Id="rId7" Type="http://schemas.openxmlformats.org/officeDocument/2006/relationships/diagramQuickStyle" Target="../diagrams/quickStyle2.xml"/><Relationship Id="rId12" Type="http://schemas.openxmlformats.org/officeDocument/2006/relationships/diagramLayout" Target="../diagrams/layout3.xml"/><Relationship Id="rId17" Type="http://schemas.openxmlformats.org/officeDocument/2006/relationships/image" Target="../media/image8.jpe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7.jpeg"/><Relationship Id="rId20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2.xml"/><Relationship Id="rId11" Type="http://schemas.openxmlformats.org/officeDocument/2006/relationships/diagramData" Target="../diagrams/data3.xml"/><Relationship Id="rId5" Type="http://schemas.openxmlformats.org/officeDocument/2006/relationships/diagramData" Target="../diagrams/data2.xml"/><Relationship Id="rId15" Type="http://schemas.openxmlformats.org/officeDocument/2006/relationships/image" Target="../media/image6.jpeg"/><Relationship Id="rId10" Type="http://schemas.openxmlformats.org/officeDocument/2006/relationships/image" Target="../media/image20.jpeg"/><Relationship Id="rId19" Type="http://schemas.microsoft.com/office/2007/relationships/diagramDrawing" Target="../diagrams/drawing3.xml"/><Relationship Id="rId4" Type="http://schemas.openxmlformats.org/officeDocument/2006/relationships/image" Target="../media/image19.jpeg"/><Relationship Id="rId9" Type="http://schemas.openxmlformats.org/officeDocument/2006/relationships/image" Target="../media/image10.jpeg"/><Relationship Id="rId14" Type="http://schemas.openxmlformats.org/officeDocument/2006/relationships/diagramColors" Target="../diagrams/colors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0.jpeg"/><Relationship Id="rId18" Type="http://schemas.openxmlformats.org/officeDocument/2006/relationships/diagramColors" Target="../diagrams/colors5.xml"/><Relationship Id="rId3" Type="http://schemas.openxmlformats.org/officeDocument/2006/relationships/image" Target="../media/image6.jpeg"/><Relationship Id="rId7" Type="http://schemas.openxmlformats.org/officeDocument/2006/relationships/image" Target="../media/image8.jpeg"/><Relationship Id="rId12" Type="http://schemas.openxmlformats.org/officeDocument/2006/relationships/diagramColors" Target="../diagrams/colors4.xml"/><Relationship Id="rId17" Type="http://schemas.openxmlformats.org/officeDocument/2006/relationships/diagramQuickStyle" Target="../diagrams/quickStyle5.xml"/><Relationship Id="rId2" Type="http://schemas.openxmlformats.org/officeDocument/2006/relationships/notesSlide" Target="../notesSlides/notesSlide9.xml"/><Relationship Id="rId16" Type="http://schemas.openxmlformats.org/officeDocument/2006/relationships/diagramLayout" Target="../diagrams/layout5.xml"/><Relationship Id="rId20" Type="http://schemas.microsoft.com/office/2007/relationships/diagramDrawing" Target="../diagrams/drawing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11" Type="http://schemas.openxmlformats.org/officeDocument/2006/relationships/diagramQuickStyle" Target="../diagrams/quickStyle4.xml"/><Relationship Id="rId5" Type="http://schemas.openxmlformats.org/officeDocument/2006/relationships/image" Target="../media/image19.jpeg"/><Relationship Id="rId15" Type="http://schemas.openxmlformats.org/officeDocument/2006/relationships/diagramData" Target="../diagrams/data5.xml"/><Relationship Id="rId10" Type="http://schemas.openxmlformats.org/officeDocument/2006/relationships/diagramLayout" Target="../diagrams/layout4.xml"/><Relationship Id="rId19" Type="http://schemas.microsoft.com/office/2007/relationships/diagramDrawing" Target="../diagrams/drawing4.xml"/><Relationship Id="rId4" Type="http://schemas.openxmlformats.org/officeDocument/2006/relationships/image" Target="../media/image18.jpeg"/><Relationship Id="rId9" Type="http://schemas.openxmlformats.org/officeDocument/2006/relationships/diagramData" Target="../diagrams/data4.xml"/><Relationship Id="rId14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3"/>
          <p:cNvSpPr>
            <a:spLocks noGrp="1"/>
          </p:cNvSpPr>
          <p:nvPr>
            <p:ph type="ctrTitle"/>
          </p:nvPr>
        </p:nvSpPr>
        <p:spPr>
          <a:xfrm>
            <a:off x="4038600" y="609600"/>
            <a:ext cx="4572001" cy="3709585"/>
          </a:xfrm>
        </p:spPr>
        <p:txBody>
          <a:bodyPr/>
          <a:lstStyle/>
          <a:p>
            <a:pPr eaLnBrk="1" hangingPunct="1"/>
            <a:r>
              <a:rPr lang="en-US" sz="5400" b="1" dirty="0" smtClean="0">
                <a:solidFill>
                  <a:srgbClr val="0076A3"/>
                </a:solidFill>
                <a:latin typeface="Algerian" pitchFamily="82" charset="0"/>
              </a:rPr>
              <a:t>Annual Press </a:t>
            </a:r>
            <a:br>
              <a:rPr lang="en-US" sz="5400" b="1" dirty="0" smtClean="0">
                <a:solidFill>
                  <a:srgbClr val="0076A3"/>
                </a:solidFill>
                <a:latin typeface="Algerian" pitchFamily="82" charset="0"/>
              </a:rPr>
            </a:br>
            <a:r>
              <a:rPr lang="en-US" sz="5400" b="1" dirty="0" smtClean="0">
                <a:solidFill>
                  <a:srgbClr val="0076A3"/>
                </a:solidFill>
                <a:latin typeface="Algerian" pitchFamily="82" charset="0"/>
              </a:rPr>
              <a:t>Conference 2013</a:t>
            </a:r>
            <a:r>
              <a:rPr lang="en-US" b="1" dirty="0" smtClean="0">
                <a:solidFill>
                  <a:srgbClr val="0076A3"/>
                </a:solidFill>
              </a:rPr>
              <a:t/>
            </a:r>
            <a:br>
              <a:rPr lang="en-US" b="1" dirty="0" smtClean="0">
                <a:solidFill>
                  <a:srgbClr val="0076A3"/>
                </a:solidFill>
              </a:rPr>
            </a:br>
            <a:endParaRPr lang="en-US" b="1" dirty="0" smtClean="0">
              <a:solidFill>
                <a:srgbClr val="0076A3"/>
              </a:solidFill>
            </a:endParaRPr>
          </a:p>
        </p:txBody>
      </p:sp>
      <p:sp>
        <p:nvSpPr>
          <p:cNvPr id="7171" name="Subtitle 4"/>
          <p:cNvSpPr>
            <a:spLocks noGrp="1"/>
          </p:cNvSpPr>
          <p:nvPr>
            <p:ph type="subTitle" idx="1"/>
          </p:nvPr>
        </p:nvSpPr>
        <p:spPr>
          <a:xfrm>
            <a:off x="4114800" y="5562600"/>
            <a:ext cx="1828800" cy="904863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rgbClr val="0B5395"/>
                </a:solidFill>
                <a:latin typeface="Algerian" pitchFamily="82" charset="0"/>
              </a:rPr>
              <a:t>30.5.2013</a:t>
            </a:r>
          </a:p>
          <a:p>
            <a:pPr eaLnBrk="1" hangingPunct="1"/>
            <a:r>
              <a:rPr lang="en-US" b="1" dirty="0" smtClean="0">
                <a:solidFill>
                  <a:srgbClr val="0B5395"/>
                </a:solidFill>
                <a:latin typeface="Algerian" pitchFamily="82" charset="0"/>
              </a:rPr>
              <a:t>New Delhi</a:t>
            </a:r>
          </a:p>
        </p:txBody>
      </p:sp>
      <p:grpSp>
        <p:nvGrpSpPr>
          <p:cNvPr id="3" name="Group 2"/>
          <p:cNvGrpSpPr>
            <a:grpSpLocks/>
          </p:cNvGrpSpPr>
          <p:nvPr/>
        </p:nvGrpSpPr>
        <p:grpSpPr bwMode="auto">
          <a:xfrm>
            <a:off x="609600" y="3886200"/>
            <a:ext cx="3200400" cy="2606675"/>
            <a:chOff x="609600" y="4114800"/>
            <a:chExt cx="2895600" cy="2286000"/>
          </a:xfrm>
        </p:grpSpPr>
        <p:pic>
          <p:nvPicPr>
            <p:cNvPr id="7180" name="Picture 8" descr="https://encrypted-tbn0.gstatic.com/images?q=tbn:ANd9GcQnXwmPCuEdHBafAZ-U7nt9mmlO5FpHIjFVnti8akCu0KFFqm-9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09600" y="4114800"/>
              <a:ext cx="1447800" cy="1219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81" name="Picture 10" descr="https://encrypted-tbn0.gstatic.com/images?q=tbn:ANd9GcQFdarCFeNb8reOYNUS3PychFX431-aRZasoMh8EMRAf3CrtM5cI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09600" y="5334000"/>
              <a:ext cx="1447800" cy="1066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82" name="Picture 12" descr="https://encrypted-tbn1.gstatic.com/images?q=tbn:ANd9GcSjgrk1C5GAWQyx6pp-gobRLcZr04pWJvN1vD3znAS7AAXZ5SHZ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057400" y="5334000"/>
              <a:ext cx="1447800" cy="1066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83" name="Picture 14" descr="https://encrypted-tbn3.gstatic.com/images?q=tbn:ANd9GcSNSy1YaisUn0BVNVIWxDsGOrChVRxTsua0YGQsKfqymqCZKKiJ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058988" y="4114800"/>
              <a:ext cx="1446212" cy="1219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7173" name="Picture 17" descr="logo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14694" y="4724400"/>
            <a:ext cx="1510206" cy="1647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4" name="Slide Number Placeholder 14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AE31F32-DD97-4331-B84A-C705F5359C20}" type="slidenum">
              <a:rPr lang="en-US"/>
              <a:pPr/>
              <a:t>1</a:t>
            </a:fld>
            <a:endParaRPr lang="en-US"/>
          </a:p>
        </p:txBody>
      </p:sp>
      <p:grpSp>
        <p:nvGrpSpPr>
          <p:cNvPr id="2" name="Group 1"/>
          <p:cNvGrpSpPr>
            <a:grpSpLocks/>
          </p:cNvGrpSpPr>
          <p:nvPr/>
        </p:nvGrpSpPr>
        <p:grpSpPr bwMode="auto">
          <a:xfrm>
            <a:off x="609600" y="606425"/>
            <a:ext cx="3200400" cy="2822575"/>
            <a:chOff x="609600" y="606425"/>
            <a:chExt cx="3019250" cy="2609952"/>
          </a:xfrm>
        </p:grpSpPr>
        <p:pic>
          <p:nvPicPr>
            <p:cNvPr id="7176" name="Picture 1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128837" y="1980845"/>
              <a:ext cx="1500013" cy="12355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77" name="Picture 2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128838" y="611188"/>
              <a:ext cx="1490083" cy="13696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78" name="Picture 17" descr="C:\Documents and Settings\00028479\My Documents\AK CPES\Annual Press Conf 2012\APC 2013\Photographs\PL\DSC_0792.JP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20713" y="1996008"/>
              <a:ext cx="1493837" cy="12054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79" name="Picture 19" descr="C:\Documents and Settings\00028479\My Documents\AK CPES\Annual Press Conf 2012\APC 2013\Photographs\APC photos_narang sir\IndianOil Refinery at Haldia.jp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609600" y="606425"/>
              <a:ext cx="1504949" cy="1374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1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dirty="0" smtClean="0"/>
          </a:p>
        </p:txBody>
      </p:sp>
      <p:sp>
        <p:nvSpPr>
          <p:cNvPr id="19460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36D784A-3644-40AF-BECF-7A63D301BC74}" type="slidenum">
              <a:rPr lang="es-ES"/>
              <a:pPr/>
              <a:t>10</a:t>
            </a:fld>
            <a:endParaRPr lang="es-ES"/>
          </a:p>
        </p:txBody>
      </p:sp>
      <p:sp>
        <p:nvSpPr>
          <p:cNvPr id="7" name="Rectangle 6"/>
          <p:cNvSpPr/>
          <p:nvPr/>
        </p:nvSpPr>
        <p:spPr>
          <a:xfrm>
            <a:off x="4030759" y="2780928"/>
            <a:ext cx="3476273" cy="2246769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60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The year </a:t>
            </a:r>
          </a:p>
          <a:p>
            <a:pPr algn="ctr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60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that was…</a:t>
            </a:r>
            <a:endParaRPr lang="en-US" sz="60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pic>
        <p:nvPicPr>
          <p:cNvPr id="19462" name="Picture 2" descr="https://encrypted-tbn3.google.com/images?q=tbn:ANd9GcS_5OraHx380noIzKuNrtn1-E6Nan2q4OuNwNi7wFYvEaFf5ANm4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1688" y="1457325"/>
            <a:ext cx="2114550" cy="1389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3" name="Picture 5" descr="C:\Users\00225501\Desktop\D(R&amp;D)'s Notes\Performance Highlights Book use for Photograph. 07.04.12\Refinery Techonology\Page No.0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1688" y="2846388"/>
            <a:ext cx="2114550" cy="127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4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8513" y="5319713"/>
            <a:ext cx="2114550" cy="121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5" name="Picture 2" descr="C:\Users\PRRPL_DGM\AppData\Local\Temp\Rar$DI45.612\DSC_0214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3275" y="4124325"/>
            <a:ext cx="2112963" cy="118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ontent Placeholder 3"/>
          <p:cNvGraphicFramePr>
            <a:graphicFrameLocks noGrp="1"/>
          </p:cNvGraphicFramePr>
          <p:nvPr>
            <p:ph idx="1"/>
          </p:nvPr>
        </p:nvGraphicFramePr>
        <p:xfrm>
          <a:off x="457200" y="1447800"/>
          <a:ext cx="4648200" cy="25295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1507" name="Picture 1"/>
          <p:cNvPicPr>
            <a:picLocks noChangeAspect="1" noChangeArrowheads="1"/>
          </p:cNvPicPr>
          <p:nvPr/>
        </p:nvPicPr>
        <p:blipFill>
          <a:blip r:embed="rId7" cstate="print">
            <a:lum bright="-10000"/>
          </a:blip>
          <a:srcRect/>
          <a:stretch>
            <a:fillRect/>
          </a:stretch>
        </p:blipFill>
        <p:spPr bwMode="auto">
          <a:xfrm>
            <a:off x="14020800" y="2735263"/>
            <a:ext cx="1463675" cy="1343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0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dianOil </a:t>
            </a:r>
            <a:r>
              <a:rPr lang="en-US" sz="2800" b="0" i="1" dirty="0" smtClean="0">
                <a:solidFill>
                  <a:srgbClr val="FF0000"/>
                </a:solidFill>
              </a:rPr>
              <a:t>– Redefining growth</a:t>
            </a:r>
          </a:p>
        </p:txBody>
      </p:sp>
      <p:graphicFrame>
        <p:nvGraphicFramePr>
          <p:cNvPr id="18" name="Content Placeholder 3"/>
          <p:cNvGraphicFramePr>
            <a:graphicFrameLocks/>
          </p:cNvGraphicFramePr>
          <p:nvPr/>
        </p:nvGraphicFramePr>
        <p:xfrm>
          <a:off x="4343400" y="3962400"/>
          <a:ext cx="4648200" cy="2743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1026" name="Picture 2" descr="C:\Documents and Settings\00076953\Desktop\Annual Press Conf 2013\Annual Press Conference\Photographs\APC photos_narang sir\IndianOil Refinery at Panipat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345470" y="1487488"/>
            <a:ext cx="3188930" cy="2238262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1027" name="Picture 3" descr="C:\Documents and Settings\00076953\Desktop\Annual Press Conf 2013\Annual Press Conference\Photographs\APC photos_narang sir\IndianOil RO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85800" y="4114800"/>
            <a:ext cx="3276600" cy="223087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dirty="0" smtClean="0"/>
          </a:p>
        </p:txBody>
      </p:sp>
      <p:sp>
        <p:nvSpPr>
          <p:cNvPr id="19460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36D784A-3644-40AF-BECF-7A63D301BC74}" type="slidenum">
              <a:rPr lang="es-ES"/>
              <a:pPr/>
              <a:t>12</a:t>
            </a:fld>
            <a:endParaRPr lang="es-ES"/>
          </a:p>
        </p:txBody>
      </p:sp>
      <p:sp>
        <p:nvSpPr>
          <p:cNvPr id="7" name="Rectangle 6"/>
          <p:cNvSpPr/>
          <p:nvPr/>
        </p:nvSpPr>
        <p:spPr>
          <a:xfrm>
            <a:off x="3623119" y="2780928"/>
            <a:ext cx="4291559" cy="2246769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60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erformance</a:t>
            </a:r>
          </a:p>
          <a:p>
            <a:pPr algn="ctr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60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at a glance</a:t>
            </a:r>
            <a:endParaRPr lang="en-US" sz="60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pic>
        <p:nvPicPr>
          <p:cNvPr id="19462" name="Picture 2" descr="https://encrypted-tbn3.google.com/images?q=tbn:ANd9GcS_5OraHx380noIzKuNrtn1-E6Nan2q4OuNwNi7wFYvEaFf5ANm4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1688" y="1457325"/>
            <a:ext cx="2114550" cy="1389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3" name="Picture 5" descr="C:\Users\00225501\Desktop\D(R&amp;D)'s Notes\Performance Highlights Book use for Photograph. 07.04.12\Refinery Techonology\Page No.0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1688" y="2846388"/>
            <a:ext cx="2114550" cy="127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4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8513" y="5319713"/>
            <a:ext cx="2114550" cy="121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5" name="Picture 2" descr="C:\Users\PRRPL_DGM\AppData\Local\Temp\Rar$DI45.612\DSC_0214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3275" y="4124325"/>
            <a:ext cx="2112963" cy="118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860" name="Picture 4"/>
          <p:cNvPicPr>
            <a:picLocks noChangeAspect="1" noChangeArrowheads="1"/>
          </p:cNvPicPr>
          <p:nvPr/>
        </p:nvPicPr>
        <p:blipFill>
          <a:blip r:embed="rId3" cstate="print"/>
          <a:srcRect l="7031" t="23958" r="5469" b="18750"/>
          <a:stretch>
            <a:fillRect/>
          </a:stretch>
        </p:blipFill>
        <p:spPr bwMode="auto">
          <a:xfrm>
            <a:off x="381000" y="1524000"/>
            <a:ext cx="85344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CF789B-7884-4AA6-B427-34A02065D031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0" y="5715000"/>
            <a:ext cx="9144000" cy="1015663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EEEE10"/>
                </a:solidFill>
              </a:rPr>
              <a:t>Highest-ever Distillate </a:t>
            </a:r>
            <a:r>
              <a:rPr lang="en-US" sz="2000" b="1" dirty="0" smtClean="0">
                <a:solidFill>
                  <a:srgbClr val="EEEE10"/>
                </a:solidFill>
              </a:rPr>
              <a:t>Yield of 78.1%: </a:t>
            </a:r>
            <a:r>
              <a:rPr lang="en-US" sz="2000" b="1" dirty="0" err="1" smtClean="0">
                <a:solidFill>
                  <a:srgbClr val="EEEE10"/>
                </a:solidFill>
              </a:rPr>
              <a:t>Barauni</a:t>
            </a:r>
            <a:r>
              <a:rPr lang="en-US" sz="2000" b="1" dirty="0" smtClean="0">
                <a:solidFill>
                  <a:srgbClr val="EEEE10"/>
                </a:solidFill>
              </a:rPr>
              <a:t>, </a:t>
            </a:r>
            <a:r>
              <a:rPr lang="en-US" sz="2000" b="1" dirty="0" err="1" smtClean="0">
                <a:solidFill>
                  <a:srgbClr val="EEEE10"/>
                </a:solidFill>
              </a:rPr>
              <a:t>Panipat</a:t>
            </a:r>
            <a:r>
              <a:rPr lang="en-US" sz="2000" b="1" dirty="0" smtClean="0">
                <a:solidFill>
                  <a:srgbClr val="EEEE10"/>
                </a:solidFill>
              </a:rPr>
              <a:t> and </a:t>
            </a:r>
            <a:r>
              <a:rPr lang="en-US" sz="2000" b="1" dirty="0" err="1" smtClean="0">
                <a:solidFill>
                  <a:srgbClr val="EEEE10"/>
                </a:solidFill>
              </a:rPr>
              <a:t>Bongaigaon</a:t>
            </a:r>
            <a:r>
              <a:rPr lang="en-US" sz="2000" b="1" dirty="0" smtClean="0">
                <a:solidFill>
                  <a:srgbClr val="EEEE10"/>
                </a:solidFill>
              </a:rPr>
              <a:t> &gt; 80%</a:t>
            </a:r>
            <a:endParaRPr lang="en-US" sz="2000" b="1" dirty="0">
              <a:solidFill>
                <a:srgbClr val="EEEE10"/>
              </a:solidFill>
            </a:endParaRPr>
          </a:p>
          <a:p>
            <a:pPr algn="ctr">
              <a:defRPr/>
            </a:pPr>
            <a:r>
              <a:rPr lang="en-US" sz="2000" b="1" dirty="0">
                <a:solidFill>
                  <a:srgbClr val="EEEE10"/>
                </a:solidFill>
              </a:rPr>
              <a:t>Lowest-ever energy </a:t>
            </a:r>
            <a:r>
              <a:rPr lang="en-US" sz="2000" b="1" dirty="0" smtClean="0">
                <a:solidFill>
                  <a:srgbClr val="EEEE10"/>
                </a:solidFill>
              </a:rPr>
              <a:t>consumption at 56.3: </a:t>
            </a:r>
            <a:r>
              <a:rPr lang="en-US" sz="2000" b="1" dirty="0" err="1" smtClean="0">
                <a:solidFill>
                  <a:srgbClr val="EEEE10"/>
                </a:solidFill>
              </a:rPr>
              <a:t>Panipat</a:t>
            </a:r>
            <a:r>
              <a:rPr lang="en-US" sz="2000" b="1" dirty="0" smtClean="0">
                <a:solidFill>
                  <a:srgbClr val="EEEE10"/>
                </a:solidFill>
              </a:rPr>
              <a:t> @ 51, among the best in industry</a:t>
            </a:r>
          </a:p>
          <a:p>
            <a:pPr algn="ctr">
              <a:defRPr/>
            </a:pPr>
            <a:r>
              <a:rPr lang="en-US" sz="2000" b="1" dirty="0" err="1" smtClean="0">
                <a:solidFill>
                  <a:srgbClr val="EEEE10"/>
                </a:solidFill>
              </a:rPr>
              <a:t>Panipat</a:t>
            </a:r>
            <a:r>
              <a:rPr lang="en-US" sz="2000" b="1" dirty="0" smtClean="0">
                <a:solidFill>
                  <a:srgbClr val="EEEE10"/>
                </a:solidFill>
              </a:rPr>
              <a:t> – capable of processing 90% HS and 20% Heavy crude</a:t>
            </a:r>
            <a:endParaRPr lang="en-US" sz="2000" b="1" dirty="0">
              <a:solidFill>
                <a:srgbClr val="EEEE10"/>
              </a:solidFill>
            </a:endParaRPr>
          </a:p>
        </p:txBody>
      </p:sp>
      <p:sp>
        <p:nvSpPr>
          <p:cNvPr id="33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68362"/>
          </a:xfrm>
        </p:spPr>
        <p:txBody>
          <a:bodyPr/>
          <a:lstStyle/>
          <a:p>
            <a:pPr eaLnBrk="1" hangingPunct="1"/>
            <a:r>
              <a:rPr lang="en-US" dirty="0" smtClean="0">
                <a:cs typeface="Arial" pitchFamily="34" charset="0"/>
              </a:rPr>
              <a:t>Refineries </a:t>
            </a:r>
            <a:r>
              <a:rPr lang="en-US" sz="2800" b="0" i="1" dirty="0" smtClean="0">
                <a:solidFill>
                  <a:srgbClr val="FF0000"/>
                </a:solidFill>
              </a:rPr>
              <a:t>– Performance par excellenc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29200" y="1600200"/>
            <a:ext cx="685800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200" b="1" dirty="0" smtClean="0"/>
              <a:t>78.1</a:t>
            </a:r>
            <a:endParaRPr lang="en-US" sz="22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7772400" y="2362200"/>
            <a:ext cx="685800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200" b="1" dirty="0" smtClean="0"/>
              <a:t>56.3</a:t>
            </a:r>
            <a:endParaRPr lang="en-US" sz="2200" b="1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Content Placeholder 2"/>
          <p:cNvSpPr>
            <a:spLocks noGrp="1"/>
          </p:cNvSpPr>
          <p:nvPr>
            <p:ph idx="1"/>
          </p:nvPr>
        </p:nvSpPr>
        <p:spPr>
          <a:xfrm>
            <a:off x="381000" y="1524000"/>
            <a:ext cx="5181600" cy="5029199"/>
          </a:xfrm>
        </p:spPr>
        <p:txBody>
          <a:bodyPr/>
          <a:lstStyle/>
          <a:p>
            <a:pPr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sz="2400" dirty="0"/>
              <a:t>Highest HS crude processing at 53.3% </a:t>
            </a:r>
            <a:r>
              <a:rPr sz="2400" dirty="0" smtClean="0"/>
              <a:t> from 49.2% in 2011-12</a:t>
            </a:r>
          </a:p>
          <a:p>
            <a:pPr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400" dirty="0" smtClean="0"/>
              <a:t>Heavy/ high TAN crude processing    @ 13.4%</a:t>
            </a:r>
            <a:endParaRPr sz="2400" dirty="0"/>
          </a:p>
          <a:p>
            <a:pPr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sz="2400" dirty="0"/>
              <a:t>Crude basket enlarged to </a:t>
            </a:r>
            <a:r>
              <a:rPr sz="2400" dirty="0" smtClean="0"/>
              <a:t>156 </a:t>
            </a:r>
            <a:r>
              <a:rPr sz="2400" dirty="0"/>
              <a:t>crudes</a:t>
            </a:r>
          </a:p>
          <a:p>
            <a:pPr lvl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26 opportunity crudes out of 32 new crudes </a:t>
            </a:r>
          </a:p>
          <a:p>
            <a:pPr lvl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Processed 1.32 MMT Rajasthan crude; 0.99 MMT in 2011-12</a:t>
            </a:r>
          </a:p>
          <a:p>
            <a:pPr lvl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Procured 0.88 MMT Maya crude for the first time – heaviest crude in IndianOil basket</a:t>
            </a:r>
            <a:endParaRPr dirty="0"/>
          </a:p>
          <a:p>
            <a:pPr>
              <a:lnSpc>
                <a:spcPct val="125000"/>
              </a:lnSpc>
              <a:buFont typeface="Arial" pitchFamily="34" charset="0"/>
              <a:buChar char="•"/>
            </a:pPr>
            <a:endParaRPr dirty="0"/>
          </a:p>
          <a:p>
            <a:pPr>
              <a:lnSpc>
                <a:spcPct val="125000"/>
              </a:lnSpc>
              <a:buFont typeface="Arial" pitchFamily="34" charset="0"/>
              <a:buChar char="•"/>
            </a:pPr>
            <a:endParaRPr dirty="0"/>
          </a:p>
          <a:p>
            <a:pPr>
              <a:lnSpc>
                <a:spcPct val="125000"/>
              </a:lnSpc>
              <a:buFont typeface="Arial" pitchFamily="34" charset="0"/>
              <a:buChar char="•"/>
            </a:pPr>
            <a:endParaRPr dirty="0"/>
          </a:p>
        </p:txBody>
      </p:sp>
      <p:sp>
        <p:nvSpPr>
          <p:cNvPr id="27652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DE5654D-410E-411F-B876-FAED1540983C}" type="slidenum">
              <a:rPr lang="es-ES"/>
              <a:pPr/>
              <a:t>14</a:t>
            </a:fld>
            <a:endParaRPr lang="es-ES"/>
          </a:p>
        </p:txBody>
      </p:sp>
      <p:sp>
        <p:nvSpPr>
          <p:cNvPr id="2765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cs typeface="Arial" pitchFamily="34" charset="0"/>
              </a:rPr>
              <a:t>Refineries </a:t>
            </a:r>
            <a:r>
              <a:rPr lang="en-US" sz="2800" b="0" i="1" dirty="0" smtClean="0">
                <a:solidFill>
                  <a:srgbClr val="FF0000"/>
                </a:solidFill>
              </a:rPr>
              <a:t>– Profitability through optimization</a:t>
            </a:r>
          </a:p>
        </p:txBody>
      </p:sp>
      <p:pic>
        <p:nvPicPr>
          <p:cNvPr id="31745" name="Picture 1" descr="C:\Documents and Settings\00076953\Desktop\Annual Press Conf 2013\Annual Press Conference\Photographs\APC photos_narang sir\IndianOil Refinery at Digbo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67400" y="1524000"/>
            <a:ext cx="2760096" cy="21336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1746" name="Picture 2" descr="C:\Documents and Settings\00076953\Desktop\Annual Press Conf 2013\Annual Press Conference\Photographs\APC photos_narang sir\Naptha cracker at Panipat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67400" y="4191000"/>
            <a:ext cx="2743200" cy="19812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7" name="Straight Connector 6"/>
          <p:cNvCxnSpPr/>
          <p:nvPr/>
        </p:nvCxnSpPr>
        <p:spPr>
          <a:xfrm>
            <a:off x="5562600" y="1676400"/>
            <a:ext cx="0" cy="457200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17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17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Content Placeholder 2"/>
          <p:cNvSpPr>
            <a:spLocks noGrp="1"/>
          </p:cNvSpPr>
          <p:nvPr>
            <p:ph idx="1"/>
          </p:nvPr>
        </p:nvSpPr>
        <p:spPr>
          <a:xfrm>
            <a:off x="381000" y="1295400"/>
            <a:ext cx="5334000" cy="3611563"/>
          </a:xfrm>
        </p:spPr>
        <p:txBody>
          <a:bodyPr/>
          <a:lstStyle/>
          <a:p>
            <a:pPr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/>
              <a:t>Projects </a:t>
            </a:r>
            <a:r>
              <a:rPr lang="en-US" sz="2400" dirty="0" smtClean="0"/>
              <a:t>under implementation:</a:t>
            </a:r>
          </a:p>
          <a:p>
            <a:pPr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sz="2400" dirty="0" smtClean="0"/>
              <a:t>To augment by 2016-17</a:t>
            </a:r>
            <a:endParaRPr lang="en-US" sz="2400" dirty="0"/>
          </a:p>
          <a:p>
            <a:pPr lvl="1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dirty="0" smtClean="0">
                <a:latin typeface="Calibri" pitchFamily="34" charset="0"/>
              </a:rPr>
              <a:t>Capacity </a:t>
            </a:r>
            <a:r>
              <a:rPr lang="en-US" sz="2200" dirty="0">
                <a:latin typeface="Calibri" pitchFamily="34" charset="0"/>
              </a:rPr>
              <a:t>to 74.0 MMTPA </a:t>
            </a:r>
            <a:r>
              <a:rPr lang="en-US" sz="2200" dirty="0" smtClean="0">
                <a:latin typeface="Calibri" pitchFamily="34" charset="0"/>
              </a:rPr>
              <a:t>from 54.2 MMTPA</a:t>
            </a:r>
            <a:endParaRPr lang="en-US" sz="2200" dirty="0">
              <a:latin typeface="Calibri" pitchFamily="34" charset="0"/>
            </a:endParaRPr>
          </a:p>
          <a:p>
            <a:pPr lvl="1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dirty="0" smtClean="0">
                <a:latin typeface="Calibri" pitchFamily="34" charset="0"/>
              </a:rPr>
              <a:t>HS </a:t>
            </a:r>
            <a:r>
              <a:rPr lang="en-US" sz="2200" dirty="0">
                <a:latin typeface="Calibri" pitchFamily="34" charset="0"/>
              </a:rPr>
              <a:t>crude processing capability to </a:t>
            </a:r>
            <a:r>
              <a:rPr lang="en-US" sz="2200" dirty="0" smtClean="0">
                <a:latin typeface="Calibri" pitchFamily="34" charset="0"/>
              </a:rPr>
              <a:t>67% from 53.3%</a:t>
            </a:r>
            <a:endParaRPr lang="en-US" sz="2200" dirty="0">
              <a:latin typeface="Calibri" pitchFamily="34" charset="0"/>
            </a:endParaRPr>
          </a:p>
          <a:p>
            <a:pPr lvl="1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dirty="0" smtClean="0">
                <a:latin typeface="Calibri" pitchFamily="34" charset="0"/>
              </a:rPr>
              <a:t>Heavy </a:t>
            </a:r>
            <a:r>
              <a:rPr lang="en-US" sz="2200" dirty="0">
                <a:latin typeface="Calibri" pitchFamily="34" charset="0"/>
              </a:rPr>
              <a:t>crude processing capability to 21.4</a:t>
            </a:r>
            <a:r>
              <a:rPr lang="en-US" sz="2200" dirty="0" smtClean="0">
                <a:latin typeface="Calibri" pitchFamily="34" charset="0"/>
              </a:rPr>
              <a:t>% from 13.4%</a:t>
            </a:r>
            <a:endParaRPr lang="en-US" sz="2200" dirty="0">
              <a:latin typeface="Calibri" pitchFamily="34" charset="0"/>
            </a:endParaRPr>
          </a:p>
          <a:p>
            <a:pPr lvl="1" fontAlgn="auto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dirty="0" smtClean="0">
                <a:latin typeface="Calibri" pitchFamily="34" charset="0"/>
              </a:rPr>
              <a:t>Distillate </a:t>
            </a:r>
            <a:r>
              <a:rPr lang="en-US" sz="2200" dirty="0">
                <a:latin typeface="Calibri" pitchFamily="34" charset="0"/>
              </a:rPr>
              <a:t>yield </a:t>
            </a:r>
            <a:r>
              <a:rPr lang="en-US" sz="2200" dirty="0" smtClean="0">
                <a:latin typeface="Calibri" pitchFamily="34" charset="0"/>
              </a:rPr>
              <a:t>to </a:t>
            </a:r>
            <a:r>
              <a:rPr lang="en-US" sz="2200" dirty="0">
                <a:latin typeface="Calibri" pitchFamily="34" charset="0"/>
              </a:rPr>
              <a:t>a level of </a:t>
            </a:r>
            <a:r>
              <a:rPr lang="en-US" sz="2200" dirty="0" smtClean="0">
                <a:latin typeface="Calibri" pitchFamily="34" charset="0"/>
              </a:rPr>
              <a:t>80.7%</a:t>
            </a:r>
            <a:endParaRPr lang="en-US" sz="2200" dirty="0">
              <a:latin typeface="Calibri" pitchFamily="34" charset="0"/>
            </a:endParaRPr>
          </a:p>
        </p:txBody>
      </p:sp>
      <p:sp>
        <p:nvSpPr>
          <p:cNvPr id="27652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DE5654D-410E-411F-B876-FAED1540983C}" type="slidenum">
              <a:rPr lang="es-ES"/>
              <a:pPr/>
              <a:t>15</a:t>
            </a:fld>
            <a:endParaRPr lang="es-ES"/>
          </a:p>
        </p:txBody>
      </p:sp>
      <p:sp>
        <p:nvSpPr>
          <p:cNvPr id="2765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cs typeface="Arial" pitchFamily="34" charset="0"/>
              </a:rPr>
              <a:t>Refineries </a:t>
            </a:r>
            <a:r>
              <a:rPr lang="en-US" sz="2800" b="0" i="1" dirty="0" smtClean="0">
                <a:solidFill>
                  <a:srgbClr val="FF0000"/>
                </a:solidFill>
              </a:rPr>
              <a:t>– Forward agenda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4748" y="5202624"/>
            <a:ext cx="9144000" cy="1502976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342900" lvl="0" indent="-342900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en-US" sz="2200" b="1" dirty="0" err="1" smtClean="0">
                <a:solidFill>
                  <a:srgbClr val="EEEE10"/>
                </a:solidFill>
              </a:rPr>
              <a:t>Paradip</a:t>
            </a:r>
            <a:r>
              <a:rPr lang="en-US" sz="2200" b="1" dirty="0" smtClean="0">
                <a:solidFill>
                  <a:srgbClr val="EEEE10"/>
                </a:solidFill>
              </a:rPr>
              <a:t> - State-of-the-art, one of the most modern refineries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SzPct val="80000"/>
              <a:buFont typeface="Wingdings" pitchFamily="2" charset="2"/>
              <a:buChar char="Ø"/>
              <a:defRPr/>
            </a:pPr>
            <a:r>
              <a:rPr lang="en-US" sz="2000" b="1" dirty="0" smtClean="0">
                <a:solidFill>
                  <a:srgbClr val="EEEE10"/>
                </a:solidFill>
              </a:rPr>
              <a:t>Capable of processing 100% HS including 40% Heavy crude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SzPct val="80000"/>
              <a:buFont typeface="Wingdings" pitchFamily="2" charset="2"/>
              <a:buChar char="Ø"/>
              <a:defRPr/>
            </a:pPr>
            <a:r>
              <a:rPr lang="en-US" sz="2000" b="1" dirty="0" smtClean="0">
                <a:solidFill>
                  <a:srgbClr val="EEEE10"/>
                </a:solidFill>
              </a:rPr>
              <a:t>Nelson complexity factor – 12.2, comparable to the best in industry 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SzPct val="80000"/>
              <a:buFont typeface="Wingdings" pitchFamily="2" charset="2"/>
              <a:buChar char="Ø"/>
              <a:defRPr/>
            </a:pPr>
            <a:r>
              <a:rPr lang="en-US" sz="2000" b="1" dirty="0" smtClean="0">
                <a:solidFill>
                  <a:srgbClr val="EEEE10"/>
                </a:solidFill>
              </a:rPr>
              <a:t>Distillate yield – 81%, Energy index – 50 MBN</a:t>
            </a:r>
          </a:p>
        </p:txBody>
      </p:sp>
      <p:grpSp>
        <p:nvGrpSpPr>
          <p:cNvPr id="10" name="Group 8"/>
          <p:cNvGrpSpPr/>
          <p:nvPr/>
        </p:nvGrpSpPr>
        <p:grpSpPr>
          <a:xfrm>
            <a:off x="5806966" y="1828800"/>
            <a:ext cx="2956034" cy="2743200"/>
            <a:chOff x="1447800" y="1600200"/>
            <a:chExt cx="7090410" cy="4546898"/>
          </a:xfrm>
        </p:grpSpPr>
        <p:pic>
          <p:nvPicPr>
            <p:cNvPr id="11" name="Picture 10" descr="C:\Users\00072125\AppData\Local\Microsoft\Windows\Temporary Internet Files\Content.Outlook\ZF4P61JA\DSC_7127 (2).JPG"/>
            <p:cNvPicPr/>
            <p:nvPr/>
          </p:nvPicPr>
          <p:blipFill>
            <a:blip r:embed="rId3" cstate="print">
              <a:lum bright="-6000"/>
            </a:blip>
            <a:srcRect l="2500" t="11014"/>
            <a:stretch>
              <a:fillRect/>
            </a:stretch>
          </p:blipFill>
          <p:spPr bwMode="auto">
            <a:xfrm>
              <a:off x="5090160" y="1600200"/>
              <a:ext cx="3448050" cy="2133600"/>
            </a:xfrm>
            <a:prstGeom prst="round2DiagRect">
              <a:avLst>
                <a:gd name="adj1" fmla="val 16667"/>
                <a:gd name="adj2" fmla="val 0"/>
              </a:avLst>
            </a:prstGeom>
            <a:ln w="88900" cap="sq">
              <a:solidFill>
                <a:srgbClr val="FFFFFF"/>
              </a:solidFill>
              <a:miter lim="800000"/>
            </a:ln>
            <a:effectLst>
              <a:outerShdw blurRad="254000" algn="tl" rotWithShape="0">
                <a:srgbClr val="000000">
                  <a:alpha val="43000"/>
                </a:srgbClr>
              </a:outerShdw>
            </a:effectLst>
          </p:spPr>
        </p:pic>
        <p:pic>
          <p:nvPicPr>
            <p:cNvPr id="12" name="Picture 2" descr="C:\Documents and Settings\00076953\Desktop\Annual Press Conf 2013\Annual Press Conference\Photographs\APC photos_narang sir\Installation of Atmospheric and Vacuum Unit at Paradip.JP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447800" y="3749040"/>
              <a:ext cx="3657600" cy="2398058"/>
            </a:xfrm>
            <a:prstGeom prst="round2DiagRect">
              <a:avLst>
                <a:gd name="adj1" fmla="val 16667"/>
                <a:gd name="adj2" fmla="val 0"/>
              </a:avLst>
            </a:prstGeom>
            <a:ln w="88900" cap="sq">
              <a:solidFill>
                <a:srgbClr val="FFFFFF"/>
              </a:solidFill>
              <a:miter lim="800000"/>
            </a:ln>
            <a:effectLst>
              <a:outerShdw blurRad="254000" algn="tl" rotWithShape="0">
                <a:srgbClr val="000000">
                  <a:alpha val="43000"/>
                </a:srgbClr>
              </a:outerShdw>
            </a:effectLst>
          </p:spPr>
        </p:pic>
        <p:pic>
          <p:nvPicPr>
            <p:cNvPr id="13" name="Picture 3" descr="C:\Documents and Settings\00076953\Desktop\Annual Press Conf 2013\Annual Press Conference\Photographs\APC photos_narang sir\Erection of  CDU column at PDRP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447800" y="1600200"/>
              <a:ext cx="3657600" cy="2189480"/>
            </a:xfrm>
            <a:prstGeom prst="round2DiagRect">
              <a:avLst>
                <a:gd name="adj1" fmla="val 16667"/>
                <a:gd name="adj2" fmla="val 0"/>
              </a:avLst>
            </a:prstGeom>
            <a:ln w="88900" cap="sq">
              <a:solidFill>
                <a:srgbClr val="FFFFFF"/>
              </a:solidFill>
              <a:miter lim="800000"/>
            </a:ln>
            <a:effectLst>
              <a:outerShdw blurRad="254000" algn="tl" rotWithShape="0">
                <a:srgbClr val="000000">
                  <a:alpha val="43000"/>
                </a:srgbClr>
              </a:outerShdw>
            </a:effectLst>
          </p:spPr>
        </p:pic>
        <p:pic>
          <p:nvPicPr>
            <p:cNvPr id="14" name="Picture 13" descr="C:\Users\00040785\Desktop\SITE PHOTOS-board - Copy\DSC_0719.JPG"/>
            <p:cNvPicPr/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993007" y="3764280"/>
              <a:ext cx="3526155" cy="2362200"/>
            </a:xfrm>
            <a:prstGeom prst="round2DiagRect">
              <a:avLst>
                <a:gd name="adj1" fmla="val 16667"/>
                <a:gd name="adj2" fmla="val 0"/>
              </a:avLst>
            </a:prstGeom>
            <a:ln w="88900" cap="sq">
              <a:solidFill>
                <a:srgbClr val="FFFFFF"/>
              </a:solidFill>
              <a:miter lim="800000"/>
            </a:ln>
            <a:effectLst>
              <a:outerShdw blurRad="254000" algn="tl" rotWithShape="0">
                <a:srgbClr val="000000">
                  <a:alpha val="43000"/>
                </a:srgbClr>
              </a:outerShdw>
            </a:effectLst>
          </p:spPr>
        </p:pic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cs typeface="Arial" pitchFamily="34" charset="0"/>
              </a:rPr>
              <a:t>Pipelines </a:t>
            </a:r>
            <a:r>
              <a:rPr lang="en-US" sz="2800" b="0" i="1" dirty="0" smtClean="0">
                <a:solidFill>
                  <a:srgbClr val="FF0000"/>
                </a:solidFill>
              </a:rPr>
              <a:t>– Resplendent networking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4294967295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>
              <a:defRPr/>
            </a:pPr>
            <a:fld id="{2F2E72B1-57C7-43C1-AC70-FCC2938CC17F}" type="datetime1">
              <a:rPr lang="en-US"/>
              <a:pPr>
                <a:defRPr/>
              </a:pPr>
              <a:t>5/31/2013</a:t>
            </a:fld>
            <a:endParaRPr lang="es-ES" dirty="0"/>
          </a:p>
        </p:txBody>
      </p:sp>
      <p:sp>
        <p:nvSpPr>
          <p:cNvPr id="29700" name="Slide Number Placeholder 7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6B76503-CFB6-40AF-B792-D251E1DF93FC}" type="slidenum">
              <a:rPr lang="es-ES"/>
              <a:pPr/>
              <a:t>16</a:t>
            </a:fld>
            <a:endParaRPr lang="es-ES"/>
          </a:p>
        </p:txBody>
      </p:sp>
      <p:graphicFrame>
        <p:nvGraphicFramePr>
          <p:cNvPr id="29701" name="Object 3"/>
          <p:cNvGraphicFramePr>
            <a:graphicFrameLocks noChangeAspect="1"/>
          </p:cNvGraphicFramePr>
          <p:nvPr/>
        </p:nvGraphicFramePr>
        <p:xfrm>
          <a:off x="711200" y="1397000"/>
          <a:ext cx="7675563" cy="4394200"/>
        </p:xfrm>
        <a:graphic>
          <a:graphicData uri="http://schemas.openxmlformats.org/presentationml/2006/ole">
            <p:oleObj spid="_x0000_s29701" r:id="rId4" imgW="7675529" imgH="4676037" progId="Excel.Sheet.8">
              <p:embed/>
            </p:oleObj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0" y="5845107"/>
            <a:ext cx="9144000" cy="830997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en-US"/>
            </a:defPPr>
            <a:lvl1pPr algn="ctr">
              <a:defRPr sz="2400" b="1">
                <a:solidFill>
                  <a:srgbClr val="EEEE10"/>
                </a:solidFill>
              </a:defRPr>
            </a:lvl1pPr>
          </a:lstStyle>
          <a:p>
            <a:pPr>
              <a:defRPr/>
            </a:pPr>
            <a:r>
              <a:rPr lang="en-US" dirty="0" smtClean="0"/>
              <a:t>Economic transportation – 47% of total white oil products moved through pipelines; 36% by rail, 2% by road &amp; 14% through coastal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5105400" cy="4953000"/>
          </a:xfrm>
          <a:extLst/>
        </p:spPr>
        <p:txBody>
          <a:bodyPr/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sz="2200" dirty="0"/>
              <a:t>Two additional SPMs commissioned at Paradip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 smtClean="0"/>
              <a:t>5 SPMs in operation - 2 on west coast, 3 on east coast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 smtClean="0"/>
              <a:t>Cumulative handling of over 500 MMT crude at </a:t>
            </a:r>
            <a:r>
              <a:rPr lang="en-US" sz="2000" dirty="0" err="1" smtClean="0"/>
              <a:t>Vadinar</a:t>
            </a:r>
            <a:r>
              <a:rPr lang="en-US" sz="2000" dirty="0" smtClean="0"/>
              <a:t> &amp; over 50 MMT crude at Paradip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dirty="0"/>
              <a:t>Added storage capacity of over 360 TMT for crude </a:t>
            </a:r>
            <a:r>
              <a:rPr lang="en-US" sz="2200" dirty="0" smtClean="0"/>
              <a:t>oil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dirty="0" smtClean="0"/>
              <a:t>Blending facility at </a:t>
            </a:r>
            <a:r>
              <a:rPr lang="en-US" sz="2200" dirty="0" err="1" smtClean="0"/>
              <a:t>Vadinar</a:t>
            </a:r>
            <a:r>
              <a:rPr lang="en-US" sz="2200" dirty="0" smtClean="0"/>
              <a:t> – ready for commissioning</a:t>
            </a:r>
            <a:endParaRPr lang="en-US" sz="2200" dirty="0"/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sz="2200" dirty="0" smtClean="0"/>
              <a:t>First </a:t>
            </a:r>
            <a:r>
              <a:rPr sz="2200" dirty="0"/>
              <a:t>customer connectivity through gas </a:t>
            </a:r>
            <a:r>
              <a:rPr sz="2200" dirty="0" smtClean="0"/>
              <a:t>pipeline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sz="2400" dirty="0"/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endParaRPr dirty="0"/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dirty="0"/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dirty="0"/>
          </a:p>
        </p:txBody>
      </p:sp>
      <p:sp>
        <p:nvSpPr>
          <p:cNvPr id="31747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B147FE9-BF37-4AA2-891A-7AB9513B91E0}" type="slidenum">
              <a:rPr lang="es-ES"/>
              <a:pPr/>
              <a:t>17</a:t>
            </a:fld>
            <a:endParaRPr lang="es-ES"/>
          </a:p>
        </p:txBody>
      </p:sp>
      <p:sp>
        <p:nvSpPr>
          <p:cNvPr id="3174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>
                <a:cs typeface="Arial" pitchFamily="34" charset="0"/>
              </a:rPr>
              <a:t>Pipelines </a:t>
            </a:r>
            <a:r>
              <a:rPr lang="en-US" sz="2800" b="0" i="1" smtClean="0">
                <a:solidFill>
                  <a:srgbClr val="FF0000"/>
                </a:solidFill>
              </a:rPr>
              <a:t>– Spreading wings</a:t>
            </a:r>
          </a:p>
        </p:txBody>
      </p:sp>
      <p:pic>
        <p:nvPicPr>
          <p:cNvPr id="7" name="Picture 2" descr="C:\Documents and Settings\00076953\Desktop\Annual Press Conf 2013\Annual Press Conference\Photographs\APC photos_narang sir\28 meter long PLEM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43600" y="1581150"/>
            <a:ext cx="2768600" cy="20764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Picture 3" descr="C:\Documents and Settings\00076953\Desktop\Annual Press Conf 2013\Annual Press Conference\Photographs\APC photos_narang sir\Marine Spread mobilized at Paradip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43600" y="4381500"/>
            <a:ext cx="2794000" cy="20955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10" name="Straight Connector 9"/>
          <p:cNvCxnSpPr/>
          <p:nvPr/>
        </p:nvCxnSpPr>
        <p:spPr>
          <a:xfrm>
            <a:off x="5715000" y="1676400"/>
            <a:ext cx="0" cy="457200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153400" cy="4953000"/>
          </a:xfrm>
          <a:extLst/>
        </p:spPr>
        <p:txBody>
          <a:bodyPr/>
          <a:lstStyle/>
          <a:p>
            <a:pPr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 smtClean="0"/>
              <a:t>Over 110 MMTPA capacity &amp; 19,000 KM by 2016-17</a:t>
            </a:r>
          </a:p>
          <a:p>
            <a:pPr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 smtClean="0"/>
              <a:t>Enhancement of capability to transport heavy crude</a:t>
            </a:r>
          </a:p>
          <a:p>
            <a:pPr lvl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dirty="0" smtClean="0"/>
              <a:t>From 25 </a:t>
            </a:r>
            <a:r>
              <a:rPr lang="en-US" sz="2200" dirty="0" err="1" smtClean="0"/>
              <a:t>cst</a:t>
            </a:r>
            <a:r>
              <a:rPr lang="en-US" sz="2200" dirty="0" smtClean="0"/>
              <a:t> to 40 </a:t>
            </a:r>
            <a:r>
              <a:rPr lang="en-US" sz="2200" dirty="0" err="1" smtClean="0"/>
              <a:t>cst</a:t>
            </a:r>
            <a:endParaRPr lang="en-US" sz="2200" dirty="0"/>
          </a:p>
          <a:p>
            <a:pPr marL="342900" lvl="1" indent="-3429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en-US" dirty="0" smtClean="0">
                <a:solidFill>
                  <a:srgbClr val="002060"/>
                </a:solidFill>
              </a:rPr>
              <a:t>Major Crude oil pipelines</a:t>
            </a:r>
          </a:p>
          <a:p>
            <a:pPr lvl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dirty="0" smtClean="0"/>
              <a:t>Debottlenecking of </a:t>
            </a:r>
            <a:r>
              <a:rPr lang="en-US" sz="2200" dirty="0" err="1" smtClean="0"/>
              <a:t>Salaya</a:t>
            </a:r>
            <a:r>
              <a:rPr lang="en-US" sz="2200" dirty="0" smtClean="0"/>
              <a:t>-Mathura pipeline</a:t>
            </a:r>
          </a:p>
          <a:p>
            <a:pPr lvl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dirty="0" smtClean="0"/>
              <a:t>Augmentation of Paradip-</a:t>
            </a:r>
            <a:r>
              <a:rPr lang="en-US" sz="2200" dirty="0" err="1" smtClean="0"/>
              <a:t>Haldia</a:t>
            </a:r>
            <a:r>
              <a:rPr lang="en-US" sz="2200" dirty="0" smtClean="0"/>
              <a:t>-</a:t>
            </a:r>
            <a:r>
              <a:rPr lang="en-US" sz="2200" dirty="0" err="1" smtClean="0"/>
              <a:t>Barauni</a:t>
            </a:r>
            <a:r>
              <a:rPr lang="en-US" sz="2200" dirty="0" smtClean="0"/>
              <a:t> Pipeline </a:t>
            </a:r>
          </a:p>
          <a:p>
            <a:pPr marL="342900" lvl="1" indent="-34290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en-US" dirty="0" smtClean="0">
                <a:solidFill>
                  <a:srgbClr val="002060"/>
                </a:solidFill>
              </a:rPr>
              <a:t>Major Product pipelines</a:t>
            </a:r>
          </a:p>
          <a:p>
            <a:pPr lvl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dirty="0" smtClean="0"/>
              <a:t>Paradip Raipur Ranchi Pipeline</a:t>
            </a:r>
          </a:p>
          <a:p>
            <a:pPr lvl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dirty="0" smtClean="0"/>
              <a:t>Paradip-</a:t>
            </a:r>
            <a:r>
              <a:rPr lang="en-US" sz="2200" dirty="0" err="1" smtClean="0"/>
              <a:t>Haldia</a:t>
            </a:r>
            <a:r>
              <a:rPr lang="en-US" sz="2200" dirty="0" smtClean="0"/>
              <a:t>-Durgapur LPG pipeline</a:t>
            </a:r>
          </a:p>
          <a:p>
            <a:pPr lvl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dirty="0" smtClean="0"/>
              <a:t>Cauvery Basin Refinery (CPCL) -</a:t>
            </a:r>
            <a:r>
              <a:rPr lang="en-US" sz="2200" dirty="0" err="1" smtClean="0"/>
              <a:t>Trichy</a:t>
            </a:r>
            <a:r>
              <a:rPr lang="en-US" sz="2200" dirty="0" smtClean="0"/>
              <a:t> pipeline</a:t>
            </a:r>
          </a:p>
          <a:p>
            <a:pPr lvl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en-US" sz="2000" dirty="0" smtClean="0"/>
          </a:p>
          <a:p>
            <a:pPr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dirty="0"/>
          </a:p>
          <a:p>
            <a:pPr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dirty="0"/>
          </a:p>
        </p:txBody>
      </p:sp>
      <p:sp>
        <p:nvSpPr>
          <p:cNvPr id="31747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B147FE9-BF37-4AA2-891A-7AB9513B91E0}" type="slidenum">
              <a:rPr lang="es-ES"/>
              <a:pPr/>
              <a:t>18</a:t>
            </a:fld>
            <a:endParaRPr lang="es-ES"/>
          </a:p>
        </p:txBody>
      </p:sp>
      <p:sp>
        <p:nvSpPr>
          <p:cNvPr id="3174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cs typeface="Arial" pitchFamily="34" charset="0"/>
              </a:rPr>
              <a:t>Pipelines </a:t>
            </a:r>
            <a:r>
              <a:rPr lang="en-US" sz="2800" b="0" i="1" dirty="0" smtClean="0">
                <a:solidFill>
                  <a:srgbClr val="FF0000"/>
                </a:solidFill>
              </a:rPr>
              <a:t>– Forward agenda</a:t>
            </a:r>
          </a:p>
        </p:txBody>
      </p:sp>
      <p:sp>
        <p:nvSpPr>
          <p:cNvPr id="5" name="Rectangle 4"/>
          <p:cNvSpPr/>
          <p:nvPr/>
        </p:nvSpPr>
        <p:spPr>
          <a:xfrm>
            <a:off x="1828800" y="-2133600"/>
            <a:ext cx="4572000" cy="75713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Projects over Rs. 6300 </a:t>
            </a:r>
            <a:r>
              <a:rPr lang="en-US" dirty="0" err="1" smtClean="0"/>
              <a:t>crore</a:t>
            </a:r>
            <a:r>
              <a:rPr lang="en-US" dirty="0" smtClean="0"/>
              <a:t> under implementatio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Number Placeholder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F30AA01-C157-420A-A0AA-B95E148AD6AD}" type="slidenum">
              <a:rPr lang="en-US"/>
              <a:pPr/>
              <a:t>19</a:t>
            </a:fld>
            <a:endParaRPr lang="en-US"/>
          </a:p>
        </p:txBody>
      </p:sp>
      <p:sp>
        <p:nvSpPr>
          <p:cNvPr id="3379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Domestic growth(%) </a:t>
            </a:r>
            <a:r>
              <a:rPr lang="en-US" sz="2800" b="0" i="1" dirty="0" smtClean="0">
                <a:solidFill>
                  <a:srgbClr val="FF0000"/>
                </a:solidFill>
              </a:rPr>
              <a:t>- Major POL product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0" y="6008669"/>
            <a:ext cx="9144000" cy="830997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en-US"/>
            </a:defPPr>
            <a:lvl1pPr algn="ctr">
              <a:defRPr sz="2400" b="1">
                <a:solidFill>
                  <a:srgbClr val="EEEE10"/>
                </a:solidFill>
              </a:defRPr>
            </a:lvl1pPr>
          </a:lstStyle>
          <a:p>
            <a:pPr>
              <a:defRPr/>
            </a:pPr>
            <a:r>
              <a:rPr lang="en-US" dirty="0" smtClean="0"/>
              <a:t>Trend in line with economy &amp; prices</a:t>
            </a:r>
          </a:p>
          <a:p>
            <a:pPr>
              <a:defRPr/>
            </a:pPr>
            <a:r>
              <a:rPr lang="en-US" dirty="0" smtClean="0"/>
              <a:t>Declining growth in LPG due to capping of domestic cylinders</a:t>
            </a:r>
          </a:p>
        </p:txBody>
      </p:sp>
      <p:graphicFrame>
        <p:nvGraphicFramePr>
          <p:cNvPr id="6" name="Chart 5"/>
          <p:cNvGraphicFramePr/>
          <p:nvPr/>
        </p:nvGraphicFramePr>
        <p:xfrm>
          <a:off x="533400" y="3581400"/>
          <a:ext cx="8382000" cy="243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/>
          <p:nvPr/>
        </p:nvGraphicFramePr>
        <p:xfrm>
          <a:off x="457200" y="1447800"/>
          <a:ext cx="8229600" cy="236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Structure of the presentation</a:t>
            </a:r>
          </a:p>
        </p:txBody>
      </p:sp>
      <p:sp>
        <p:nvSpPr>
          <p:cNvPr id="9219" name="Slide Number Placeholder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AB9E7D0-572F-423D-856F-2DF9C692C2B3}" type="slidenum">
              <a:rPr lang="en-US"/>
              <a:pPr/>
              <a:t>2</a:t>
            </a:fld>
            <a:endParaRPr lang="en-US"/>
          </a:p>
        </p:txBody>
      </p:sp>
      <p:graphicFrame>
        <p:nvGraphicFramePr>
          <p:cNvPr id="6" name="Diagram 5"/>
          <p:cNvGraphicFramePr/>
          <p:nvPr/>
        </p:nvGraphicFramePr>
        <p:xfrm>
          <a:off x="685800" y="1600200"/>
          <a:ext cx="8001000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Number Placeholder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F30AA01-C157-420A-A0AA-B95E148AD6AD}" type="slidenum">
              <a:rPr lang="en-US"/>
              <a:pPr/>
              <a:t>20</a:t>
            </a:fld>
            <a:endParaRPr lang="en-US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304800" y="1447800"/>
          <a:ext cx="88392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379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cs typeface="Arial" pitchFamily="34" charset="0"/>
              </a:rPr>
              <a:t>Marketing </a:t>
            </a:r>
            <a:r>
              <a:rPr lang="en-US" sz="2800" b="0" i="1" dirty="0" smtClean="0">
                <a:solidFill>
                  <a:srgbClr val="FF0000"/>
                </a:solidFill>
              </a:rPr>
              <a:t>–  Effulgent performan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0" y="6200393"/>
            <a:ext cx="9144000" cy="46166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en-US"/>
            </a:defPPr>
            <a:lvl1pPr algn="ctr">
              <a:defRPr sz="2400" b="1">
                <a:solidFill>
                  <a:srgbClr val="EEEE10"/>
                </a:solidFill>
              </a:defRPr>
            </a:lvl1pPr>
          </a:lstStyle>
          <a:p>
            <a:pPr>
              <a:defRPr/>
            </a:pPr>
            <a:r>
              <a:rPr lang="en-US" dirty="0" smtClean="0"/>
              <a:t>Highest-ever product sales; Market leader with 48.2% market shar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5105400" cy="5105400"/>
          </a:xfrm>
        </p:spPr>
        <p:txBody>
          <a:bodyPr/>
          <a:lstStyle/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en-US" sz="2400" dirty="0" smtClean="0"/>
              <a:t>Highest No. of ROs commissioned</a:t>
            </a:r>
          </a:p>
          <a:p>
            <a:pPr lvl="1">
              <a:defRPr/>
            </a:pPr>
            <a:r>
              <a:rPr lang="en-US" sz="2000" dirty="0" smtClean="0"/>
              <a:t>Over 10% sales contributed by KSKs</a:t>
            </a:r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en-US" sz="2400" dirty="0" smtClean="0"/>
              <a:t>1600 ROs automated during the year, total reached to 4,377 </a:t>
            </a:r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en-US" sz="2400" dirty="0" smtClean="0"/>
              <a:t>Commissioned an AFS at </a:t>
            </a:r>
            <a:r>
              <a:rPr lang="en-US" sz="2400" i="1" dirty="0" err="1" smtClean="0"/>
              <a:t>Thoise</a:t>
            </a:r>
            <a:r>
              <a:rPr lang="en-US" sz="2400" dirty="0" smtClean="0"/>
              <a:t>: 10,500 ft. above MSL</a:t>
            </a:r>
            <a:endParaRPr sz="2400" dirty="0"/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en-US" sz="2400" dirty="0" smtClean="0"/>
              <a:t>Highest-ever supplies of 1 MMT to Nepal</a:t>
            </a:r>
          </a:p>
          <a:p>
            <a:pPr>
              <a:lnSpc>
                <a:spcPct val="100000"/>
              </a:lnSpc>
              <a:buFont typeface="Arial" pitchFamily="34" charset="0"/>
              <a:buChar char="•"/>
            </a:pPr>
            <a:r>
              <a:rPr lang="en-US" sz="2400" dirty="0" smtClean="0"/>
              <a:t>Added over 600 TMTPA of LPG bottling capacity</a:t>
            </a:r>
            <a:endParaRPr lang="en-US" sz="2400" dirty="0"/>
          </a:p>
        </p:txBody>
      </p:sp>
      <p:sp>
        <p:nvSpPr>
          <p:cNvPr id="37892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6C93D17-0D39-468D-B43C-DCC93528AF85}" type="slidenum">
              <a:rPr lang="es-ES"/>
              <a:pPr/>
              <a:t>21</a:t>
            </a:fld>
            <a:endParaRPr lang="es-E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68362"/>
          </a:xfrm>
        </p:spPr>
        <p:txBody>
          <a:bodyPr/>
          <a:lstStyle/>
          <a:p>
            <a:pPr eaLnBrk="1" hangingPunct="1"/>
            <a:r>
              <a:rPr lang="en-US" dirty="0" smtClean="0">
                <a:cs typeface="Arial" pitchFamily="34" charset="0"/>
              </a:rPr>
              <a:t>Marketing </a:t>
            </a:r>
            <a:r>
              <a:rPr lang="en-US" sz="2800" b="0" i="1" dirty="0" smtClean="0">
                <a:solidFill>
                  <a:srgbClr val="FF0000"/>
                </a:solidFill>
              </a:rPr>
              <a:t>– Making winning moves</a:t>
            </a:r>
          </a:p>
        </p:txBody>
      </p:sp>
      <p:pic>
        <p:nvPicPr>
          <p:cNvPr id="92161" name="Picture 1" descr="C:\Documents and Settings\00076953\Desktop\Annual Press Conf 2013\Annual Press Conference\Photographs\APC photos_narang sir\IndianOil Bottling Plant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43600" y="4267199"/>
            <a:ext cx="2895600" cy="205740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2162" name="Picture 2" descr="C:\Documents and Settings\00076953\Desktop\Annual Press Conf 2013\Annual Press Conference\Photographs\APC photos_narang sir\Aviation Fuel Centre at Leh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49253" y="1595207"/>
            <a:ext cx="2889947" cy="206239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8" name="Straight Connector 7"/>
          <p:cNvCxnSpPr/>
          <p:nvPr/>
        </p:nvCxnSpPr>
        <p:spPr>
          <a:xfrm>
            <a:off x="5715000" y="1676400"/>
            <a:ext cx="0" cy="457200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2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2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Number Placeholder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353DD09-9E47-4709-9938-38F1A9CD6B39}" type="slidenum">
              <a:rPr lang="en-US"/>
              <a:pPr/>
              <a:t>22</a:t>
            </a:fld>
            <a:endParaRPr lang="en-US"/>
          </a:p>
        </p:txBody>
      </p:sp>
      <p:sp>
        <p:nvSpPr>
          <p:cNvPr id="3584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cs typeface="Arial" pitchFamily="34" charset="0"/>
              </a:rPr>
              <a:t>Marketing </a:t>
            </a:r>
            <a:r>
              <a:rPr lang="en-US" sz="2800" b="0" i="1" dirty="0" smtClean="0">
                <a:solidFill>
                  <a:srgbClr val="FF0000"/>
                </a:solidFill>
              </a:rPr>
              <a:t>– Reaching out, touching liv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0" y="6197598"/>
            <a:ext cx="9144000" cy="46166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en-US"/>
            </a:defPPr>
            <a:lvl1pPr algn="ctr">
              <a:defRPr sz="2400" b="1">
                <a:solidFill>
                  <a:srgbClr val="EEEE10"/>
                </a:solidFill>
              </a:defRPr>
            </a:lvl1pPr>
          </a:lstStyle>
          <a:p>
            <a:pPr>
              <a:defRPr/>
            </a:pPr>
            <a:r>
              <a:rPr lang="en-US" dirty="0" smtClean="0"/>
              <a:t>39,460 touch points - 51.7 % of the industry</a:t>
            </a:r>
          </a:p>
        </p:txBody>
      </p:sp>
      <p:graphicFrame>
        <p:nvGraphicFramePr>
          <p:cNvPr id="10" name="Chart 9"/>
          <p:cNvGraphicFramePr>
            <a:graphicFrameLocks/>
          </p:cNvGraphicFramePr>
          <p:nvPr/>
        </p:nvGraphicFramePr>
        <p:xfrm>
          <a:off x="0" y="1676400"/>
          <a:ext cx="91440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162800" y="1447800"/>
            <a:ext cx="1752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s on 31.3.2013</a:t>
            </a:r>
            <a:endParaRPr 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Number Placeholder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F30AA01-C157-420A-A0AA-B95E148AD6AD}" type="slidenum">
              <a:rPr lang="en-US"/>
              <a:pPr/>
              <a:t>23</a:t>
            </a:fld>
            <a:endParaRPr lang="en-US"/>
          </a:p>
        </p:txBody>
      </p:sp>
      <p:sp>
        <p:nvSpPr>
          <p:cNvPr id="3379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cs typeface="Arial" pitchFamily="34" charset="0"/>
              </a:rPr>
              <a:t>Marketing </a:t>
            </a:r>
            <a:r>
              <a:rPr lang="en-US" sz="2800" b="0" i="1" dirty="0" smtClean="0">
                <a:solidFill>
                  <a:srgbClr val="FF0000"/>
                </a:solidFill>
              </a:rPr>
              <a:t>–  Forward agend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876800"/>
          </a:xfrm>
        </p:spPr>
        <p:txBody>
          <a:bodyPr/>
          <a:lstStyle/>
          <a:p>
            <a:r>
              <a:rPr lang="en-US" dirty="0" smtClean="0"/>
              <a:t>Major projects under implementation</a:t>
            </a:r>
          </a:p>
          <a:p>
            <a:pPr lvl="1"/>
            <a:r>
              <a:rPr lang="en-US" dirty="0" smtClean="0"/>
              <a:t>LPG facilities and marketing terminal at Paradip</a:t>
            </a:r>
          </a:p>
          <a:p>
            <a:pPr lvl="1"/>
            <a:r>
              <a:rPr lang="en-US" dirty="0" smtClean="0"/>
              <a:t>LPG import facility at Kochi</a:t>
            </a:r>
          </a:p>
          <a:p>
            <a:pPr lvl="1"/>
            <a:r>
              <a:rPr lang="en-US" dirty="0" smtClean="0"/>
              <a:t>Various re-</a:t>
            </a:r>
            <a:r>
              <a:rPr lang="en-US" dirty="0" err="1" smtClean="0"/>
              <a:t>sitement</a:t>
            </a:r>
            <a:r>
              <a:rPr lang="en-US" dirty="0" smtClean="0"/>
              <a:t> projects for optimal logistics</a:t>
            </a:r>
          </a:p>
          <a:p>
            <a:pPr>
              <a:lnSpc>
                <a:spcPts val="3600"/>
              </a:lnSpc>
            </a:pPr>
            <a:r>
              <a:rPr lang="en-US" dirty="0" smtClean="0"/>
              <a:t>Dedicated ATF pipelines</a:t>
            </a:r>
            <a:endParaRPr lang="en-US" dirty="0"/>
          </a:p>
          <a:p>
            <a:pPr>
              <a:lnSpc>
                <a:spcPts val="3600"/>
              </a:lnSpc>
            </a:pPr>
            <a:r>
              <a:rPr lang="en-US" dirty="0" smtClean="0"/>
              <a:t>Initiatives in retail network</a:t>
            </a:r>
          </a:p>
          <a:p>
            <a:pPr lvl="1"/>
            <a:r>
              <a:rPr lang="en-US" dirty="0" smtClean="0"/>
              <a:t>Automation of 12,000 ROs (all ROs selling more than 100 KL/ Month) by 2016-17</a:t>
            </a:r>
          </a:p>
          <a:p>
            <a:pPr lvl="1"/>
            <a:r>
              <a:rPr lang="en-US" dirty="0"/>
              <a:t>Introduction of large format </a:t>
            </a:r>
            <a:r>
              <a:rPr lang="en-US" dirty="0" smtClean="0"/>
              <a:t>ROs at highways</a:t>
            </a:r>
            <a:endParaRPr lang="en-US" dirty="0"/>
          </a:p>
          <a:p>
            <a:pPr lvl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4648200" cy="518160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2000" dirty="0" smtClean="0"/>
              <a:t>Indigenously developed technologies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 err="1" smtClean="0"/>
              <a:t>Indmax</a:t>
            </a:r>
            <a:r>
              <a:rPr lang="en-US" sz="1800" dirty="0" smtClean="0"/>
              <a:t> at </a:t>
            </a:r>
            <a:r>
              <a:rPr lang="en-US" sz="1800" dirty="0" err="1" smtClean="0"/>
              <a:t>Guwahati</a:t>
            </a:r>
            <a:r>
              <a:rPr lang="en-US" sz="1800" dirty="0" smtClean="0"/>
              <a:t> &amp; Paradip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 smtClean="0"/>
              <a:t>LPG </a:t>
            </a:r>
            <a:r>
              <a:rPr lang="en-US" sz="1800" dirty="0" err="1" smtClean="0"/>
              <a:t>Deasphalting</a:t>
            </a:r>
            <a:r>
              <a:rPr lang="en-US" sz="1800" dirty="0" smtClean="0"/>
              <a:t> process implemented at </a:t>
            </a:r>
            <a:r>
              <a:rPr lang="en-US" sz="1800" dirty="0" err="1" smtClean="0"/>
              <a:t>Haldia</a:t>
            </a:r>
            <a:r>
              <a:rPr lang="en-US" sz="1800" dirty="0" smtClean="0"/>
              <a:t> 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 err="1" smtClean="0"/>
              <a:t>INDAdeptG</a:t>
            </a:r>
            <a:r>
              <a:rPr lang="en-US" sz="1800" dirty="0" smtClean="0"/>
              <a:t> being implemented at </a:t>
            </a:r>
            <a:r>
              <a:rPr lang="en-US" sz="1800" dirty="0" err="1" smtClean="0"/>
              <a:t>Guwahati</a:t>
            </a:r>
            <a:endParaRPr lang="en-US" sz="1800" dirty="0" smtClean="0"/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 smtClean="0"/>
              <a:t>Food grade Hexane unit commissioned at HMEL, </a:t>
            </a:r>
            <a:r>
              <a:rPr lang="en-US" sz="1800" dirty="0" err="1" smtClean="0"/>
              <a:t>Bhatinda</a:t>
            </a:r>
            <a:endParaRPr lang="en-US" sz="1800" dirty="0" smtClean="0"/>
          </a:p>
          <a:p>
            <a:pPr marL="342900" lvl="1" indent="-342900">
              <a:spcBef>
                <a:spcPts val="1200"/>
              </a:spcBef>
              <a:spcAft>
                <a:spcPts val="1200"/>
              </a:spcAft>
              <a:buSzTx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060"/>
                </a:solidFill>
              </a:rPr>
              <a:t>India’s first Integrated </a:t>
            </a:r>
            <a:r>
              <a:rPr lang="en-US" sz="2000" dirty="0" err="1" smtClean="0">
                <a:solidFill>
                  <a:srgbClr val="002060"/>
                </a:solidFill>
              </a:rPr>
              <a:t>lignocellulosic</a:t>
            </a:r>
            <a:r>
              <a:rPr lang="en-US" sz="2000" dirty="0" smtClean="0">
                <a:solidFill>
                  <a:srgbClr val="002060"/>
                </a:solidFill>
              </a:rPr>
              <a:t> biomass to ethanol pilot plant</a:t>
            </a:r>
          </a:p>
          <a:p>
            <a:pPr marL="342900" lvl="1" indent="-342900">
              <a:spcBef>
                <a:spcPts val="1200"/>
              </a:spcBef>
              <a:spcAft>
                <a:spcPts val="1200"/>
              </a:spcAft>
              <a:buSzTx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060"/>
                </a:solidFill>
              </a:rPr>
              <a:t>First time co-processing of non-edible oil in DHDT unit of CPCL, Chennai</a:t>
            </a:r>
          </a:p>
        </p:txBody>
      </p:sp>
      <p:sp>
        <p:nvSpPr>
          <p:cNvPr id="37892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6C93D17-0D39-468D-B43C-DCC93528AF85}" type="slidenum">
              <a:rPr lang="es-ES"/>
              <a:pPr/>
              <a:t>24</a:t>
            </a:fld>
            <a:endParaRPr lang="es-E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68362"/>
          </a:xfrm>
        </p:spPr>
        <p:txBody>
          <a:bodyPr/>
          <a:lstStyle/>
          <a:p>
            <a:pPr eaLnBrk="1" hangingPunct="1"/>
            <a:r>
              <a:rPr lang="en-US" dirty="0" smtClean="0">
                <a:cs typeface="Arial" pitchFamily="34" charset="0"/>
              </a:rPr>
              <a:t>R&amp;D </a:t>
            </a:r>
            <a:r>
              <a:rPr lang="en-US" sz="2800" b="0" i="1" dirty="0" smtClean="0">
                <a:solidFill>
                  <a:srgbClr val="FF0000"/>
                </a:solidFill>
              </a:rPr>
              <a:t>– Class apart</a:t>
            </a:r>
          </a:p>
        </p:txBody>
      </p:sp>
      <p:pic>
        <p:nvPicPr>
          <p:cNvPr id="84993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76600" y="4038600"/>
            <a:ext cx="2910199" cy="20258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4994" name="Rectangle 2"/>
          <p:cNvSpPr>
            <a:spLocks noChangeArrowheads="1"/>
          </p:cNvSpPr>
          <p:nvPr/>
        </p:nvSpPr>
        <p:spPr bwMode="auto">
          <a:xfrm>
            <a:off x="5562600" y="6050578"/>
            <a:ext cx="33528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Lignocellulosic</a:t>
            </a: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 Biomass to ethanol pilot plant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+mn-lt"/>
              <a:cs typeface="Times New Roman" pitchFamily="18" charset="0"/>
            </a:endParaRPr>
          </a:p>
        </p:txBody>
      </p:sp>
      <p:pic>
        <p:nvPicPr>
          <p:cNvPr id="9" name="Picture 2" descr="C:\Users\00072125\AppData\Local\Microsoft\Windows\Temporary Internet Files\Content.Outlook\ZF4P61JA\FCC.jpg"/>
          <p:cNvPicPr>
            <a:picLocks noChangeAspect="1" noChangeArrowheads="1"/>
          </p:cNvPicPr>
          <p:nvPr/>
        </p:nvPicPr>
        <p:blipFill>
          <a:blip r:embed="rId4" cstate="print">
            <a:lum bright="-6000"/>
          </a:blip>
          <a:srcRect t="4888" r="5833"/>
          <a:stretch>
            <a:fillRect/>
          </a:stretch>
        </p:blipFill>
        <p:spPr bwMode="auto">
          <a:xfrm>
            <a:off x="5791200" y="1432034"/>
            <a:ext cx="2895600" cy="18338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5486400" y="3337034"/>
            <a:ext cx="33528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eaLnBrk="1" hangingPunct="1"/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View of Indigenously </a:t>
            </a:r>
            <a:r>
              <a:rPr lang="en-US" sz="1600" b="1" dirty="0" smtClean="0">
                <a:solidFill>
                  <a:srgbClr val="002060"/>
                </a:solidFill>
                <a:latin typeface="+mn-lt"/>
                <a:ea typeface="Calibri" pitchFamily="34" charset="0"/>
                <a:cs typeface="Times New Roman" pitchFamily="18" charset="0"/>
              </a:rPr>
              <a:t>developed  INDMAX technology at Paradip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+mn-lt"/>
              <a:cs typeface="Times New Roman" pitchFamily="18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5486400" y="1676400"/>
            <a:ext cx="0" cy="457200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8001000" cy="5105400"/>
          </a:xfrm>
        </p:spPr>
        <p:txBody>
          <a:bodyPr/>
          <a:lstStyle/>
          <a:p>
            <a:pPr>
              <a:lnSpc>
                <a:spcPct val="100000"/>
              </a:lnSpc>
              <a:buFont typeface="Arial" pitchFamily="34" charset="0"/>
              <a:buChar char="•"/>
              <a:defRPr/>
            </a:pPr>
            <a:r>
              <a:rPr lang="en-US" dirty="0"/>
              <a:t>Lubricants</a:t>
            </a:r>
          </a:p>
          <a:p>
            <a:pPr lvl="1">
              <a:defRPr/>
            </a:pPr>
            <a:r>
              <a:rPr lang="en-US" sz="2200" dirty="0" smtClean="0"/>
              <a:t>120 product formulations developed </a:t>
            </a:r>
          </a:p>
          <a:p>
            <a:pPr lvl="1">
              <a:defRPr/>
            </a:pPr>
            <a:r>
              <a:rPr lang="en-US" sz="2200" dirty="0" smtClean="0"/>
              <a:t>Received 43 OEM/customer/</a:t>
            </a:r>
            <a:r>
              <a:rPr lang="en-US" sz="2200" dirty="0" err="1" smtClean="0"/>
              <a:t>defence</a:t>
            </a:r>
            <a:r>
              <a:rPr lang="en-US" sz="2200" dirty="0" smtClean="0"/>
              <a:t> approvals &amp;                 re-certifications</a:t>
            </a:r>
          </a:p>
          <a:p>
            <a:pPr>
              <a:lnSpc>
                <a:spcPct val="100000"/>
              </a:lnSpc>
              <a:buFont typeface="Arial" pitchFamily="34" charset="0"/>
              <a:buChar char="•"/>
              <a:defRPr/>
            </a:pPr>
            <a:r>
              <a:rPr lang="en-US" dirty="0"/>
              <a:t>Patents</a:t>
            </a:r>
          </a:p>
          <a:p>
            <a:pPr lvl="1">
              <a:defRPr/>
            </a:pPr>
            <a:r>
              <a:rPr lang="en-US" dirty="0" smtClean="0"/>
              <a:t>Applied record No. of 52 patents in a year: 8 patents granted</a:t>
            </a:r>
          </a:p>
          <a:p>
            <a:pPr>
              <a:lnSpc>
                <a:spcPct val="100000"/>
              </a:lnSpc>
              <a:defRPr/>
            </a:pPr>
            <a:r>
              <a:rPr lang="en-US" dirty="0" smtClean="0"/>
              <a:t>Status of patents: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7892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6C93D17-0D39-468D-B43C-DCC93528AF85}" type="slidenum">
              <a:rPr lang="es-ES"/>
              <a:pPr/>
              <a:t>25</a:t>
            </a:fld>
            <a:endParaRPr lang="es-E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68362"/>
          </a:xfrm>
        </p:spPr>
        <p:txBody>
          <a:bodyPr/>
          <a:lstStyle/>
          <a:p>
            <a:pPr eaLnBrk="1" hangingPunct="1"/>
            <a:r>
              <a:rPr lang="en-US" dirty="0" smtClean="0">
                <a:cs typeface="Arial" pitchFamily="34" charset="0"/>
              </a:rPr>
              <a:t>R&amp;D </a:t>
            </a:r>
            <a:r>
              <a:rPr lang="en-US" sz="2800" b="0" i="1" dirty="0" smtClean="0">
                <a:solidFill>
                  <a:srgbClr val="FF0000"/>
                </a:solidFill>
              </a:rPr>
              <a:t>– Class apart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182563" y="5638800"/>
          <a:ext cx="4008437" cy="792512"/>
        </p:xfrm>
        <a:graphic>
          <a:graphicData uri="http://schemas.openxmlformats.org/drawingml/2006/table">
            <a:tbl>
              <a:tblPr/>
              <a:tblGrid>
                <a:gridCol w="898443"/>
                <a:gridCol w="1124078"/>
                <a:gridCol w="993384"/>
                <a:gridCol w="992532"/>
              </a:tblGrid>
              <a:tr h="381000"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India</a:t>
                      </a:r>
                    </a:p>
                  </a:txBody>
                  <a:tcPr marL="91435" marR="91435"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D0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USA</a:t>
                      </a:r>
                    </a:p>
                  </a:txBody>
                  <a:tcPr marL="91435" marR="91435"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D0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Others</a:t>
                      </a:r>
                    </a:p>
                  </a:txBody>
                  <a:tcPr marL="91435" marR="91435"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D0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Total</a:t>
                      </a:r>
                    </a:p>
                  </a:txBody>
                  <a:tcPr marL="91435" marR="91435"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D0D"/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33</a:t>
                      </a:r>
                    </a:p>
                  </a:txBody>
                  <a:tcPr marL="91435" marR="91435"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56</a:t>
                      </a:r>
                    </a:p>
                  </a:txBody>
                  <a:tcPr marL="91435" marR="91435"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65</a:t>
                      </a:r>
                    </a:p>
                  </a:txBody>
                  <a:tcPr marL="91435" marR="91435"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54</a:t>
                      </a:r>
                    </a:p>
                  </a:txBody>
                  <a:tcPr marL="91435" marR="91435"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Group 21"/>
          <p:cNvGraphicFramePr>
            <a:graphicFrameLocks noGrp="1"/>
          </p:cNvGraphicFramePr>
          <p:nvPr/>
        </p:nvGraphicFramePr>
        <p:xfrm>
          <a:off x="4451349" y="5638800"/>
          <a:ext cx="4464051" cy="777336"/>
        </p:xfrm>
        <a:graphic>
          <a:graphicData uri="http://schemas.openxmlformats.org/drawingml/2006/table">
            <a:tbl>
              <a:tblPr/>
              <a:tblGrid>
                <a:gridCol w="1059265"/>
                <a:gridCol w="1195489"/>
                <a:gridCol w="1093284"/>
                <a:gridCol w="1116013"/>
              </a:tblGrid>
              <a:tr h="179295"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Lubes</a:t>
                      </a:r>
                    </a:p>
                  </a:txBody>
                  <a:tcPr marL="91431" marR="91431" marT="45744" marB="457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Refineries</a:t>
                      </a:r>
                    </a:p>
                  </a:txBody>
                  <a:tcPr marL="91431" marR="91431" marT="45744" marB="457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Others</a:t>
                      </a:r>
                    </a:p>
                  </a:txBody>
                  <a:tcPr marL="91431" marR="91431" marT="45744" marB="457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91431" marR="91431" marT="45744" marB="4574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00"/>
                    </a:solidFill>
                  </a:tcPr>
                </a:tc>
              </a:tr>
              <a:tr h="186465"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91431" marR="91431" marT="45744" marB="457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138</a:t>
                      </a:r>
                    </a:p>
                  </a:txBody>
                  <a:tcPr marL="91431" marR="91431" marT="45744" marB="457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81</a:t>
                      </a:r>
                    </a:p>
                  </a:txBody>
                  <a:tcPr marL="91431" marR="91431" marT="45744" marB="457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-13873163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254</a:t>
                      </a:r>
                    </a:p>
                  </a:txBody>
                  <a:tcPr marL="91431" marR="91431" marT="45744" marB="4574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/>
          <p:cNvGraphicFramePr/>
          <p:nvPr/>
        </p:nvGraphicFramePr>
        <p:xfrm>
          <a:off x="0" y="1371600"/>
          <a:ext cx="9144000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quarter" idx="4294967295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>
              <a:defRPr/>
            </a:pPr>
            <a:fld id="{A092500E-527E-4409-8106-0433377A146B}" type="datetime1">
              <a:rPr lang="en-US"/>
              <a:pPr>
                <a:defRPr/>
              </a:pPr>
              <a:t>5/31/2013</a:t>
            </a:fld>
            <a:endParaRPr lang="es-ES" dirty="0"/>
          </a:p>
        </p:txBody>
      </p:sp>
      <p:sp>
        <p:nvSpPr>
          <p:cNvPr id="44036" name="Slide Number Placeholder 4"/>
          <p:cNvSpPr>
            <a:spLocks noGrp="1"/>
          </p:cNvSpPr>
          <p:nvPr>
            <p:ph type="sldNum" sz="quarter" idx="11"/>
          </p:nvPr>
        </p:nvSpPr>
        <p:spPr bwMode="auto">
          <a:xfrm>
            <a:off x="7010400" y="6553200"/>
            <a:ext cx="2133600" cy="404813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212B28CB-F3A5-4E00-BA5D-BDCF737BBBDB}" type="slidenum">
              <a:rPr lang="es-ES"/>
              <a:pPr/>
              <a:t>26</a:t>
            </a:fld>
            <a:endParaRPr lang="es-ES"/>
          </a:p>
        </p:txBody>
      </p:sp>
      <p:sp>
        <p:nvSpPr>
          <p:cNvPr id="44037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EL </a:t>
            </a:r>
            <a:r>
              <a:rPr lang="en-US" sz="2800" b="0" i="1" dirty="0" smtClean="0">
                <a:solidFill>
                  <a:srgbClr val="FF0000"/>
                </a:solidFill>
              </a:rPr>
              <a:t>– Ideas for growing busines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0" y="6196763"/>
            <a:ext cx="9144000" cy="46166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en-US"/>
            </a:defPPr>
            <a:lvl1pPr algn="ctr">
              <a:defRPr sz="2400" b="1">
                <a:solidFill>
                  <a:srgbClr val="EEEE10"/>
                </a:solidFill>
              </a:defRPr>
            </a:lvl1pPr>
          </a:lstStyle>
          <a:p>
            <a:pPr>
              <a:defRPr/>
            </a:pPr>
            <a:r>
              <a:rPr lang="en-US" dirty="0" smtClean="0"/>
              <a:t>2</a:t>
            </a:r>
            <a:r>
              <a:rPr lang="en-US" baseline="30000" dirty="0" smtClean="0"/>
              <a:t>nd</a:t>
            </a:r>
            <a:r>
              <a:rPr lang="en-US" dirty="0" smtClean="0"/>
              <a:t> largest petrochemicals capacity share in the country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7C3D91A-64A9-4CD9-9461-E4CA9FF83593}" type="slidenum">
              <a:rPr lang="es-ES"/>
              <a:pPr/>
              <a:t>27</a:t>
            </a:fld>
            <a:endParaRPr lang="es-ES"/>
          </a:p>
        </p:txBody>
      </p:sp>
      <p:sp>
        <p:nvSpPr>
          <p:cNvPr id="46084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trochemicals </a:t>
            </a:r>
            <a:r>
              <a:rPr lang="en-US" sz="2800" b="0" i="1" dirty="0" smtClean="0">
                <a:solidFill>
                  <a:srgbClr val="FF0000"/>
                </a:solidFill>
              </a:rPr>
              <a:t>– Forward agenda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ntering into niche segment</a:t>
            </a:r>
          </a:p>
          <a:p>
            <a:pPr lvl="1"/>
            <a:r>
              <a:rPr lang="en-US" dirty="0" smtClean="0"/>
              <a:t>139 TMTPA, Butadiene Extraction Unit at </a:t>
            </a:r>
            <a:r>
              <a:rPr lang="en-US" dirty="0" err="1" smtClean="0"/>
              <a:t>Panipat</a:t>
            </a:r>
            <a:endParaRPr lang="en-US" dirty="0" smtClean="0"/>
          </a:p>
          <a:p>
            <a:pPr lvl="1"/>
            <a:r>
              <a:rPr lang="en-US" dirty="0" smtClean="0"/>
              <a:t>120 TMTPA, Styrene Butadiene Rubber plant at </a:t>
            </a:r>
            <a:r>
              <a:rPr lang="en-US" dirty="0" err="1" smtClean="0"/>
              <a:t>Panipat</a:t>
            </a:r>
            <a:r>
              <a:rPr lang="en-US" dirty="0" smtClean="0"/>
              <a:t> </a:t>
            </a:r>
          </a:p>
          <a:p>
            <a:r>
              <a:rPr lang="en-US" dirty="0" smtClean="0"/>
              <a:t>Revamp &amp; debottlenecking of existing PX/PTA &amp; LAB units</a:t>
            </a:r>
          </a:p>
          <a:p>
            <a:r>
              <a:rPr lang="en-US" dirty="0"/>
              <a:t>Poly Propylene unit at Paradip</a:t>
            </a:r>
          </a:p>
          <a:p>
            <a:r>
              <a:rPr lang="en-US" dirty="0" err="1" smtClean="0"/>
              <a:t>Petcoke</a:t>
            </a:r>
            <a:r>
              <a:rPr lang="en-US" dirty="0" smtClean="0"/>
              <a:t> Gasification &amp; Acetic Acid projec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s </a:t>
            </a:r>
            <a:r>
              <a:rPr lang="en-US" sz="2800" b="0" i="1" dirty="0" smtClean="0">
                <a:solidFill>
                  <a:srgbClr val="FF0000"/>
                </a:solidFill>
              </a:rPr>
              <a:t>– Emerging as the fuel of choi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4294967295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>
              <a:defRPr/>
            </a:pPr>
            <a:fld id="{5755D96E-1FD3-44F6-9FF5-512E947197EF}" type="datetime1">
              <a:rPr lang="en-US"/>
              <a:pPr>
                <a:defRPr/>
              </a:pPr>
              <a:t>5/31/2013</a:t>
            </a:fld>
            <a:endParaRPr lang="es-ES" dirty="0"/>
          </a:p>
        </p:txBody>
      </p:sp>
      <p:sp>
        <p:nvSpPr>
          <p:cNvPr id="48132" name="Slide Number Placeholder 4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9BEEE5F-3045-455E-938E-381944A99AD2}" type="slidenum">
              <a:rPr lang="es-ES"/>
              <a:pPr/>
              <a:t>28</a:t>
            </a:fld>
            <a:endParaRPr lang="es-ES"/>
          </a:p>
        </p:txBody>
      </p:sp>
      <p:graphicFrame>
        <p:nvGraphicFramePr>
          <p:cNvPr id="48133" name="Content Placeholder 3"/>
          <p:cNvGraphicFramePr>
            <a:graphicFrameLocks/>
          </p:cNvGraphicFramePr>
          <p:nvPr/>
        </p:nvGraphicFramePr>
        <p:xfrm>
          <a:off x="704850" y="1387475"/>
          <a:ext cx="8032750" cy="4327525"/>
        </p:xfrm>
        <a:graphic>
          <a:graphicData uri="http://schemas.openxmlformats.org/presentationml/2006/ole">
            <p:oleObj spid="_x0000_s77826" r:id="rId4" imgW="8029128" imgH="4328535" progId="Excel.Sheet.8">
              <p:embed/>
            </p:oleObj>
          </a:graphicData>
        </a:graphic>
      </p:graphicFrame>
      <p:sp>
        <p:nvSpPr>
          <p:cNvPr id="10" name="AutoShape 19"/>
          <p:cNvSpPr>
            <a:spLocks noChangeArrowheads="1"/>
          </p:cNvSpPr>
          <p:nvPr/>
        </p:nvSpPr>
        <p:spPr bwMode="auto">
          <a:xfrm rot="20439727">
            <a:off x="3042039" y="2495812"/>
            <a:ext cx="882813" cy="574631"/>
          </a:xfrm>
          <a:prstGeom prst="rightArrow">
            <a:avLst>
              <a:gd name="adj1" fmla="val 50000"/>
              <a:gd name="adj2" fmla="val 50991"/>
            </a:avLst>
          </a:prstGeom>
          <a:solidFill>
            <a:srgbClr val="FF9900"/>
          </a:solidFill>
          <a:ln>
            <a:noFill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800" b="1" dirty="0" smtClean="0">
                <a:solidFill>
                  <a:schemeClr val="tx1"/>
                </a:solidFill>
                <a:cs typeface="Calibri" pitchFamily="34" charset="0"/>
              </a:rPr>
              <a:t>25%</a:t>
            </a:r>
            <a:endParaRPr lang="en-US" sz="1800" b="1" dirty="0">
              <a:solidFill>
                <a:schemeClr val="tx1"/>
              </a:solidFill>
              <a:cs typeface="Calibri" pitchFamily="34" charset="0"/>
            </a:endParaRPr>
          </a:p>
        </p:txBody>
      </p:sp>
      <p:sp>
        <p:nvSpPr>
          <p:cNvPr id="11" name="AutoShape 19"/>
          <p:cNvSpPr>
            <a:spLocks noChangeArrowheads="1"/>
          </p:cNvSpPr>
          <p:nvPr/>
        </p:nvSpPr>
        <p:spPr bwMode="auto">
          <a:xfrm rot="20955713">
            <a:off x="5071632" y="2200382"/>
            <a:ext cx="899208" cy="539975"/>
          </a:xfrm>
          <a:prstGeom prst="rightArrow">
            <a:avLst>
              <a:gd name="adj1" fmla="val 50000"/>
              <a:gd name="adj2" fmla="val 50991"/>
            </a:avLst>
          </a:prstGeom>
          <a:solidFill>
            <a:srgbClr val="FF9900"/>
          </a:solidFill>
          <a:ln>
            <a:noFill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800" b="1" dirty="0" smtClean="0">
                <a:solidFill>
                  <a:schemeClr val="tx1"/>
                </a:solidFill>
                <a:cs typeface="Calibri" pitchFamily="34" charset="0"/>
              </a:rPr>
              <a:t>10%</a:t>
            </a:r>
            <a:endParaRPr lang="en-US" sz="1800" b="1" dirty="0">
              <a:solidFill>
                <a:schemeClr val="tx1"/>
              </a:solidFill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0" y="6201071"/>
            <a:ext cx="9144000" cy="46166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en-US"/>
            </a:defPPr>
            <a:lvl1pPr algn="ctr">
              <a:defRPr sz="2400" b="1">
                <a:solidFill>
                  <a:srgbClr val="EEEE10"/>
                </a:solidFill>
              </a:defRPr>
            </a:lvl1pPr>
          </a:lstStyle>
          <a:p>
            <a:pPr>
              <a:defRPr/>
            </a:pPr>
            <a:r>
              <a:rPr lang="en-US" dirty="0" smtClean="0"/>
              <a:t>Highest-ever R-LNG sal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9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94F0F65-F433-4F1E-9EE6-2F5A7A32D87E}" type="slidenum">
              <a:rPr lang="es-ES"/>
              <a:pPr/>
              <a:t>29</a:t>
            </a:fld>
            <a:endParaRPr lang="es-ES"/>
          </a:p>
        </p:txBody>
      </p:sp>
      <p:sp>
        <p:nvSpPr>
          <p:cNvPr id="5018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Gas </a:t>
            </a:r>
            <a:r>
              <a:rPr lang="en-US" sz="2800" b="0" i="1" dirty="0" smtClean="0">
                <a:solidFill>
                  <a:srgbClr val="FF0000"/>
                </a:solidFill>
              </a:rPr>
              <a:t>– Emerging as the fuel of choice…</a:t>
            </a:r>
          </a:p>
        </p:txBody>
      </p:sp>
      <p:sp>
        <p:nvSpPr>
          <p:cNvPr id="50181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dirty="0"/>
              <a:t>Finalized PMC for </a:t>
            </a:r>
            <a:r>
              <a:rPr dirty="0" err="1"/>
              <a:t>Ennore</a:t>
            </a:r>
            <a:r>
              <a:rPr dirty="0"/>
              <a:t> LNG project</a:t>
            </a:r>
          </a:p>
          <a:p>
            <a:pPr>
              <a:buFont typeface="Arial" pitchFamily="34" charset="0"/>
              <a:buChar char="•"/>
            </a:pPr>
            <a:r>
              <a:rPr dirty="0"/>
              <a:t>Aggressive moves for laying cross-country  gas pipelines</a:t>
            </a:r>
          </a:p>
          <a:p>
            <a:pPr>
              <a:buFont typeface="Arial" pitchFamily="34" charset="0"/>
              <a:buChar char="•"/>
            </a:pPr>
            <a:r>
              <a:rPr dirty="0"/>
              <a:t>Authorized </a:t>
            </a:r>
            <a:r>
              <a:rPr dirty="0" smtClean="0"/>
              <a:t> to build CGD networks </a:t>
            </a:r>
            <a:r>
              <a:rPr dirty="0"/>
              <a:t>in Chandigarh &amp; Allahabad</a:t>
            </a:r>
          </a:p>
          <a:p>
            <a:pPr>
              <a:buFont typeface="Arial" pitchFamily="34" charset="0"/>
              <a:buChar char="•"/>
            </a:pPr>
            <a:r>
              <a:rPr dirty="0"/>
              <a:t>Supplies through </a:t>
            </a:r>
            <a:r>
              <a:rPr i="1" dirty="0"/>
              <a:t>‘LNG at Doorstep’ </a:t>
            </a:r>
            <a:r>
              <a:rPr dirty="0"/>
              <a:t>- growth of 77%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4294967295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>
              <a:defRPr/>
            </a:pPr>
            <a:fld id="{691EE796-92C1-448A-AEC9-376BB04110FA}" type="datetime1">
              <a:rPr lang="en-US"/>
              <a:pPr>
                <a:defRPr/>
              </a:pPr>
              <a:t>5/31/2013</a:t>
            </a:fld>
            <a:endParaRPr lang="es-ES" dirty="0"/>
          </a:p>
        </p:txBody>
      </p:sp>
      <p:sp>
        <p:nvSpPr>
          <p:cNvPr id="14340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8BF06A7-10A8-41B6-BF92-B3952D0753C5}" type="slidenum">
              <a:rPr lang="es-ES"/>
              <a:pPr/>
              <a:t>3</a:t>
            </a:fld>
            <a:endParaRPr lang="es-ES"/>
          </a:p>
        </p:txBody>
      </p:sp>
      <p:sp>
        <p:nvSpPr>
          <p:cNvPr id="7" name="Rectangle 6"/>
          <p:cNvSpPr/>
          <p:nvPr/>
        </p:nvSpPr>
        <p:spPr>
          <a:xfrm>
            <a:off x="4263742" y="2743200"/>
            <a:ext cx="3010311" cy="2246769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60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Industry </a:t>
            </a:r>
          </a:p>
          <a:p>
            <a:pPr algn="ctr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60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ynopsis</a:t>
            </a:r>
            <a:endParaRPr lang="en-US" sz="60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798513" y="1457325"/>
            <a:ext cx="2117725" cy="5078413"/>
            <a:chOff x="798513" y="1457325"/>
            <a:chExt cx="2117725" cy="5078413"/>
          </a:xfrm>
        </p:grpSpPr>
        <p:pic>
          <p:nvPicPr>
            <p:cNvPr id="14342" name="Picture 2" descr="https://encrypted-tbn3.google.com/images?q=tbn:ANd9GcS_5OraHx380noIzKuNrtn1-E6Nan2q4OuNwNi7wFYvEaFf5ANm4A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01688" y="1457325"/>
              <a:ext cx="2114550" cy="1389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343" name="Picture 5" descr="C:\Users\00225501\Desktop\D(R&amp;D)'s Notes\Performance Highlights Book use for Photograph. 07.04.12\Refinery Techonology\Page No.03.jp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01688" y="2846388"/>
              <a:ext cx="2114550" cy="127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344" name="Picture 3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98513" y="5319713"/>
              <a:ext cx="2114550" cy="1216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345" name="Picture 2" descr="C:\Users\PRRPL_DGM\AppData\Local\Temp\Rar$DI45.612\DSC_0214.JP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803275" y="4124325"/>
              <a:ext cx="2112963" cy="1189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65" name="Picture 4" descr="IMG_5906"/>
          <p:cNvPicPr>
            <a:picLocks noChangeAspect="1" noChangeArrowheads="1"/>
          </p:cNvPicPr>
          <p:nvPr/>
        </p:nvPicPr>
        <p:blipFill>
          <a:blip r:embed="rId3" cstate="print">
            <a:lum/>
          </a:blip>
          <a:srcRect/>
          <a:stretch>
            <a:fillRect/>
          </a:stretch>
        </p:blipFill>
        <p:spPr bwMode="auto">
          <a:xfrm>
            <a:off x="5105400" y="1590325"/>
            <a:ext cx="3505200" cy="458187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50179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94F0F65-F433-4F1E-9EE6-2F5A7A32D87E}" type="slidenum">
              <a:rPr lang="es-ES"/>
              <a:pPr/>
              <a:t>30</a:t>
            </a:fld>
            <a:endParaRPr lang="es-ES"/>
          </a:p>
        </p:txBody>
      </p:sp>
      <p:sp>
        <p:nvSpPr>
          <p:cNvPr id="5018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eaLnBrk="1" hangingPunct="1"/>
            <a:r>
              <a:rPr lang="en-US" b="1" dirty="0" smtClean="0"/>
              <a:t>E&amp;P</a:t>
            </a:r>
            <a:r>
              <a:rPr lang="en-US" dirty="0" smtClean="0"/>
              <a:t> </a:t>
            </a:r>
            <a:r>
              <a:rPr lang="en-US" sz="2800" i="1" kern="1200" dirty="0" smtClean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– A landmark year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idx="1"/>
          </p:nvPr>
        </p:nvSpPr>
        <p:spPr>
          <a:xfrm>
            <a:off x="228600" y="1722437"/>
            <a:ext cx="4114800" cy="4525963"/>
          </a:xfrm>
        </p:spPr>
        <p:txBody>
          <a:bodyPr/>
          <a:lstStyle/>
          <a:p>
            <a:pPr marL="342900" lvl="1" indent="-342900">
              <a:lnSpc>
                <a:spcPts val="3200"/>
              </a:lnSpc>
              <a:buFont typeface="Arial" pitchFamily="34" charset="0"/>
              <a:buChar char="•"/>
              <a:defRPr/>
            </a:pPr>
            <a:r>
              <a:rPr lang="en-US" sz="2200" dirty="0" smtClean="0">
                <a:solidFill>
                  <a:srgbClr val="002060"/>
                </a:solidFill>
              </a:rPr>
              <a:t>Acquired 10% stake in Niobrara Shale Oil JV asset, Carrizo, USA – brought in 1</a:t>
            </a:r>
            <a:r>
              <a:rPr lang="en-US" sz="2200" baseline="30000" dirty="0" smtClean="0">
                <a:solidFill>
                  <a:srgbClr val="002060"/>
                </a:solidFill>
              </a:rPr>
              <a:t>st</a:t>
            </a:r>
            <a:r>
              <a:rPr lang="en-US" sz="2200" dirty="0" smtClean="0">
                <a:solidFill>
                  <a:srgbClr val="002060"/>
                </a:solidFill>
              </a:rPr>
              <a:t> E&amp;P earnings</a:t>
            </a:r>
          </a:p>
          <a:p>
            <a:pPr marL="342900" lvl="1" indent="-342900">
              <a:lnSpc>
                <a:spcPts val="3200"/>
              </a:lnSpc>
              <a:buFont typeface="Arial" pitchFamily="34" charset="0"/>
              <a:buChar char="•"/>
              <a:defRPr/>
            </a:pPr>
            <a:r>
              <a:rPr lang="en-US" sz="2200" dirty="0" smtClean="0">
                <a:solidFill>
                  <a:srgbClr val="002060"/>
                </a:solidFill>
              </a:rPr>
              <a:t>Production started in Project Carabobo, Venezuela</a:t>
            </a:r>
          </a:p>
          <a:p>
            <a:pPr marL="342900" lvl="1" indent="-342900">
              <a:lnSpc>
                <a:spcPts val="3200"/>
              </a:lnSpc>
              <a:buFont typeface="Arial" pitchFamily="34" charset="0"/>
              <a:buChar char="•"/>
              <a:defRPr/>
            </a:pPr>
            <a:r>
              <a:rPr lang="en-US" sz="2200" dirty="0" smtClean="0">
                <a:solidFill>
                  <a:srgbClr val="002060"/>
                </a:solidFill>
              </a:rPr>
              <a:t>1</a:t>
            </a:r>
            <a:r>
              <a:rPr lang="en-US" sz="2200" baseline="30000" dirty="0" smtClean="0">
                <a:solidFill>
                  <a:srgbClr val="002060"/>
                </a:solidFill>
              </a:rPr>
              <a:t>st</a:t>
            </a:r>
            <a:r>
              <a:rPr lang="en-US" sz="2200" dirty="0" smtClean="0">
                <a:solidFill>
                  <a:srgbClr val="002060"/>
                </a:solidFill>
              </a:rPr>
              <a:t> ever drilling in the domestic operated block</a:t>
            </a:r>
          </a:p>
          <a:p>
            <a:pPr marL="342900" lvl="1" indent="-342900">
              <a:lnSpc>
                <a:spcPts val="3200"/>
              </a:lnSpc>
              <a:buFont typeface="Arial" pitchFamily="34" charset="0"/>
              <a:buChar char="•"/>
              <a:defRPr/>
            </a:pPr>
            <a:r>
              <a:rPr lang="en-US" sz="2200" dirty="0" smtClean="0">
                <a:solidFill>
                  <a:srgbClr val="002060"/>
                </a:solidFill>
              </a:rPr>
              <a:t>Discovery in 3 wells</a:t>
            </a:r>
          </a:p>
          <a:p>
            <a:pPr marL="342900" lvl="1" indent="-342900">
              <a:lnSpc>
                <a:spcPts val="3200"/>
              </a:lnSpc>
              <a:buFont typeface="Arial" pitchFamily="34" charset="0"/>
              <a:buChar char="•"/>
              <a:defRPr/>
            </a:pPr>
            <a:endParaRPr lang="en-US" sz="2200" dirty="0" smtClean="0">
              <a:solidFill>
                <a:srgbClr val="002060"/>
              </a:solidFill>
            </a:endParaRPr>
          </a:p>
          <a:p>
            <a:pPr marL="342900" lvl="1" indent="-342900">
              <a:lnSpc>
                <a:spcPts val="3200"/>
              </a:lnSpc>
              <a:buFont typeface="Arial" pitchFamily="34" charset="0"/>
              <a:buChar char="•"/>
              <a:defRPr/>
            </a:pPr>
            <a:endParaRPr lang="en-US" sz="2200" dirty="0" smtClean="0">
              <a:solidFill>
                <a:srgbClr val="00206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4572000" y="1676400"/>
            <a:ext cx="0" cy="457200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4572000" y="6190608"/>
            <a:ext cx="4572000" cy="4678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1" indent="-342900">
              <a:lnSpc>
                <a:spcPts val="3200"/>
              </a:lnSpc>
              <a:defRPr/>
            </a:pPr>
            <a:r>
              <a:rPr lang="en-US" sz="2000" b="1" dirty="0" smtClean="0">
                <a:solidFill>
                  <a:srgbClr val="002060"/>
                </a:solidFill>
              </a:rPr>
              <a:t>A view of the drilling site: IOC </a:t>
            </a:r>
            <a:r>
              <a:rPr lang="en-US" sz="2000" b="1" dirty="0" err="1" smtClean="0">
                <a:solidFill>
                  <a:srgbClr val="002060"/>
                </a:solidFill>
              </a:rPr>
              <a:t>Khambel</a:t>
            </a:r>
            <a:r>
              <a:rPr lang="en-US" sz="2000" b="1" dirty="0" smtClean="0">
                <a:solidFill>
                  <a:srgbClr val="002060"/>
                </a:solidFill>
              </a:rPr>
              <a:t> 1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24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5257800" cy="2362200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sz="2400" dirty="0" smtClean="0"/>
              <a:t>Wind </a:t>
            </a:r>
            <a:r>
              <a:rPr sz="2400" dirty="0"/>
              <a:t>capacity enhanced to </a:t>
            </a:r>
            <a:r>
              <a:rPr sz="2400" dirty="0" smtClean="0"/>
              <a:t>63 MW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400" dirty="0" smtClean="0"/>
              <a:t>100 </a:t>
            </a:r>
            <a:r>
              <a:rPr lang="en-US" sz="2400" dirty="0"/>
              <a:t>GWH grid-connected renewable energy generation in a </a:t>
            </a:r>
            <a:r>
              <a:rPr lang="en-US" sz="2400" dirty="0" smtClean="0"/>
              <a:t>year</a:t>
            </a:r>
            <a:endParaRPr lang="en-US" sz="2000" dirty="0" smtClean="0"/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endParaRPr sz="2400" dirty="0"/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endParaRPr sz="2400" dirty="0"/>
          </a:p>
        </p:txBody>
      </p:sp>
      <p:sp>
        <p:nvSpPr>
          <p:cNvPr id="54277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7763D481-8F7D-49F6-ABBA-66D579AE8185}" type="slidenum">
              <a:rPr lang="es-ES"/>
              <a:pPr/>
              <a:t>31</a:t>
            </a:fld>
            <a:endParaRPr lang="es-ES"/>
          </a:p>
        </p:txBody>
      </p:sp>
      <p:sp>
        <p:nvSpPr>
          <p:cNvPr id="54278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Clean energy </a:t>
            </a:r>
            <a:r>
              <a:rPr lang="en-US" sz="2800" b="0" i="1" dirty="0" smtClean="0">
                <a:solidFill>
                  <a:srgbClr val="FF0000"/>
                </a:solidFill>
              </a:rPr>
              <a:t>– Towards a sustainable future </a:t>
            </a:r>
          </a:p>
        </p:txBody>
      </p:sp>
      <p:pic>
        <p:nvPicPr>
          <p:cNvPr id="54280" name="Picture 8" descr="http://znb.india.com/upload/2011/8/17/suzlon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73813" y="1752600"/>
            <a:ext cx="3089187" cy="1905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" name="Rectangle 7"/>
          <p:cNvSpPr/>
          <p:nvPr/>
        </p:nvSpPr>
        <p:spPr>
          <a:xfrm>
            <a:off x="4114800" y="3984010"/>
            <a:ext cx="5029200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dirty="0">
                <a:solidFill>
                  <a:srgbClr val="002060"/>
                </a:solidFill>
                <a:latin typeface="+mn-lt"/>
              </a:rPr>
              <a:t>Initiatives towards cleaner tomorrow</a:t>
            </a:r>
          </a:p>
          <a:p>
            <a:pPr marL="742950" lvl="1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80000"/>
              <a:buFont typeface="Wingdings" pitchFamily="2" charset="2"/>
              <a:buChar char="Ø"/>
              <a:defRPr/>
            </a:pPr>
            <a:r>
              <a:rPr lang="en-US" sz="2000" b="1" dirty="0" smtClean="0">
                <a:solidFill>
                  <a:srgbClr val="FF0000"/>
                </a:solidFill>
                <a:latin typeface="+mn-lt"/>
              </a:rPr>
              <a:t>Carbon foot printing at 48 locations  </a:t>
            </a:r>
          </a:p>
          <a:p>
            <a:pPr marL="742950" lvl="1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80000"/>
              <a:buFont typeface="Wingdings" pitchFamily="2" charset="2"/>
              <a:buChar char="Ø"/>
              <a:defRPr/>
            </a:pPr>
            <a:r>
              <a:rPr lang="en-US" sz="2000" b="1" dirty="0" smtClean="0">
                <a:solidFill>
                  <a:srgbClr val="FF0000"/>
                </a:solidFill>
                <a:latin typeface="+mn-lt"/>
              </a:rPr>
              <a:t>Energy audit of 28 buildings</a:t>
            </a:r>
          </a:p>
          <a:p>
            <a:pPr marL="742950" lvl="1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80000"/>
              <a:buFont typeface="Wingdings" pitchFamily="2" charset="2"/>
              <a:buChar char="Ø"/>
              <a:defRPr/>
            </a:pPr>
            <a:r>
              <a:rPr lang="en-US" sz="2000" b="1" dirty="0" smtClean="0">
                <a:solidFill>
                  <a:srgbClr val="FF0000"/>
                </a:solidFill>
                <a:latin typeface="+mn-lt"/>
              </a:rPr>
              <a:t>Rain water harvesting at 54 locations</a:t>
            </a:r>
          </a:p>
          <a:p>
            <a:pPr marL="742950" lvl="1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80000"/>
              <a:buFont typeface="Wingdings" pitchFamily="2" charset="2"/>
              <a:buChar char="Ø"/>
              <a:defRPr/>
            </a:pPr>
            <a:r>
              <a:rPr lang="en-US" sz="2000" b="1" dirty="0" err="1" smtClean="0">
                <a:solidFill>
                  <a:srgbClr val="FF0000"/>
                </a:solidFill>
                <a:latin typeface="+mn-lt"/>
              </a:rPr>
              <a:t>Solarization</a:t>
            </a:r>
            <a:r>
              <a:rPr lang="en-US" sz="2000" b="1" dirty="0" smtClean="0">
                <a:solidFill>
                  <a:srgbClr val="FF0000"/>
                </a:solidFill>
                <a:latin typeface="+mn-lt"/>
              </a:rPr>
              <a:t> of about 300 ROs</a:t>
            </a:r>
          </a:p>
        </p:txBody>
      </p:sp>
      <p:pic>
        <p:nvPicPr>
          <p:cNvPr id="10342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5801" y="4038600"/>
            <a:ext cx="3048000" cy="22858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Up Arrow 35"/>
          <p:cNvSpPr/>
          <p:nvPr/>
        </p:nvSpPr>
        <p:spPr>
          <a:xfrm>
            <a:off x="6019800" y="1597025"/>
            <a:ext cx="1828800" cy="5032375"/>
          </a:xfrm>
          <a:prstGeom prst="upArrow">
            <a:avLst/>
          </a:prstGeom>
          <a:solidFill>
            <a:srgbClr val="0099FF"/>
          </a:solidFill>
          <a:scene3d>
            <a:camera prst="perspectiveRelaxedModerately"/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32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CAPEX plans </a:t>
            </a:r>
            <a:r>
              <a:rPr lang="en-US" sz="2800" b="0" i="1" dirty="0" smtClean="0">
                <a:solidFill>
                  <a:srgbClr val="FF0000"/>
                </a:solidFill>
              </a:rPr>
              <a:t>- Investing for a brighter </a:t>
            </a:r>
            <a:br>
              <a:rPr lang="en-US" sz="2800" b="0" i="1" dirty="0" smtClean="0">
                <a:solidFill>
                  <a:srgbClr val="FF0000"/>
                </a:solidFill>
              </a:rPr>
            </a:br>
            <a:r>
              <a:rPr lang="en-US" sz="2800" b="0" i="1" dirty="0" smtClean="0">
                <a:solidFill>
                  <a:srgbClr val="FF0000"/>
                </a:solidFill>
              </a:rPr>
              <a:t>tomorrow</a:t>
            </a:r>
          </a:p>
        </p:txBody>
      </p:sp>
      <p:sp>
        <p:nvSpPr>
          <p:cNvPr id="56328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9E2BDDE-6026-4400-84CF-D6E7C0EB34DE}" type="slidenum">
              <a:rPr lang="es-ES"/>
              <a:pPr/>
              <a:t>32</a:t>
            </a:fld>
            <a:endParaRPr lang="es-ES"/>
          </a:p>
        </p:txBody>
      </p:sp>
      <p:sp>
        <p:nvSpPr>
          <p:cNvPr id="8" name="Oval 34"/>
          <p:cNvSpPr>
            <a:spLocks noChangeArrowheads="1"/>
          </p:cNvSpPr>
          <p:nvPr/>
        </p:nvSpPr>
        <p:spPr bwMode="gray">
          <a:xfrm rot="20876594">
            <a:off x="8081577" y="2809875"/>
            <a:ext cx="825500" cy="631825"/>
          </a:xfrm>
          <a:prstGeom prst="ellipse">
            <a:avLst/>
          </a:prstGeom>
          <a:solidFill>
            <a:srgbClr val="0F2145">
              <a:alpha val="30196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9" name="Oval 35"/>
          <p:cNvSpPr>
            <a:spLocks noChangeArrowheads="1"/>
          </p:cNvSpPr>
          <p:nvPr/>
        </p:nvSpPr>
        <p:spPr bwMode="gray">
          <a:xfrm>
            <a:off x="8011727" y="2324100"/>
            <a:ext cx="917575" cy="1368425"/>
          </a:xfrm>
          <a:prstGeom prst="ellipse">
            <a:avLst/>
          </a:prstGeom>
          <a:gradFill rotWithShape="1">
            <a:gsLst>
              <a:gs pos="0">
                <a:srgbClr val="636869"/>
              </a:gs>
              <a:gs pos="100000">
                <a:srgbClr val="D6E1E2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vert="eaVert" wrap="none" anchor="ctr"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10" name="Oval 36"/>
          <p:cNvSpPr>
            <a:spLocks noChangeArrowheads="1"/>
          </p:cNvSpPr>
          <p:nvPr/>
        </p:nvSpPr>
        <p:spPr bwMode="gray">
          <a:xfrm>
            <a:off x="8027603" y="2349500"/>
            <a:ext cx="901700" cy="1190625"/>
          </a:xfrm>
          <a:prstGeom prst="ellipse">
            <a:avLst/>
          </a:prstGeom>
          <a:gradFill rotWithShape="1">
            <a:gsLst>
              <a:gs pos="0">
                <a:srgbClr val="D6E1E2">
                  <a:alpha val="0"/>
                </a:srgbClr>
              </a:gs>
              <a:gs pos="100000">
                <a:srgbClr val="F1F5F5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vert="eaVert" wrap="none" anchor="ctr"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11" name="Oval 37"/>
          <p:cNvSpPr>
            <a:spLocks noChangeArrowheads="1"/>
          </p:cNvSpPr>
          <p:nvPr/>
        </p:nvSpPr>
        <p:spPr bwMode="gray">
          <a:xfrm>
            <a:off x="8040302" y="2365375"/>
            <a:ext cx="909638" cy="1473200"/>
          </a:xfrm>
          <a:prstGeom prst="ellipse">
            <a:avLst/>
          </a:prstGeom>
          <a:gradFill rotWithShape="1">
            <a:gsLst>
              <a:gs pos="0">
                <a:srgbClr val="AAB2B3"/>
              </a:gs>
              <a:gs pos="100000">
                <a:srgbClr val="D6E1E2">
                  <a:alpha val="48000"/>
                </a:srgbClr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vert="eaVert" wrap="none" anchor="ctr"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12" name="Oval 38"/>
          <p:cNvSpPr>
            <a:spLocks noChangeArrowheads="1"/>
          </p:cNvSpPr>
          <p:nvPr/>
        </p:nvSpPr>
        <p:spPr bwMode="gray">
          <a:xfrm>
            <a:off x="8106977" y="2406650"/>
            <a:ext cx="808038" cy="1195388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D6E1E2">
                  <a:alpha val="37999"/>
                </a:srgbClr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vert="eaVert" wrap="none" anchor="ctr"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56338" name="Text Box 39"/>
          <p:cNvSpPr txBox="1">
            <a:spLocks noChangeArrowheads="1"/>
          </p:cNvSpPr>
          <p:nvPr/>
        </p:nvSpPr>
        <p:spPr bwMode="gray">
          <a:xfrm>
            <a:off x="7924800" y="2892623"/>
            <a:ext cx="1066800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56,200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14" name="Oval 40"/>
          <p:cNvSpPr>
            <a:spLocks noChangeArrowheads="1"/>
          </p:cNvSpPr>
          <p:nvPr/>
        </p:nvSpPr>
        <p:spPr bwMode="gray">
          <a:xfrm rot="20827004">
            <a:off x="8001843" y="4744629"/>
            <a:ext cx="712114" cy="545422"/>
          </a:xfrm>
          <a:prstGeom prst="ellipse">
            <a:avLst/>
          </a:prstGeom>
          <a:solidFill>
            <a:srgbClr val="0F2145">
              <a:alpha val="30196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8012850" y="3922842"/>
            <a:ext cx="863710" cy="1283957"/>
            <a:chOff x="730" y="2112"/>
            <a:chExt cx="842" cy="855"/>
          </a:xfrm>
        </p:grpSpPr>
        <p:sp>
          <p:nvSpPr>
            <p:cNvPr id="26" name="Oval 42"/>
            <p:cNvSpPr>
              <a:spLocks noChangeArrowheads="1"/>
            </p:cNvSpPr>
            <p:nvPr/>
          </p:nvSpPr>
          <p:spPr bwMode="gray">
            <a:xfrm>
              <a:off x="730" y="2112"/>
              <a:ext cx="842" cy="855"/>
            </a:xfrm>
            <a:prstGeom prst="ellipse">
              <a:avLst/>
            </a:prstGeom>
            <a:gradFill rotWithShape="1">
              <a:gsLst>
                <a:gs pos="0">
                  <a:srgbClr val="636869"/>
                </a:gs>
                <a:gs pos="100000">
                  <a:srgbClr val="D6E1E2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</p:spPr>
          <p:txBody>
            <a:bodyPr vert="eaVert" wrap="none" anchor="ctr"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27" name="Oval 43"/>
            <p:cNvSpPr>
              <a:spLocks noChangeArrowheads="1"/>
            </p:cNvSpPr>
            <p:nvPr/>
          </p:nvSpPr>
          <p:spPr bwMode="gray">
            <a:xfrm>
              <a:off x="742" y="2117"/>
              <a:ext cx="822" cy="833"/>
            </a:xfrm>
            <a:prstGeom prst="ellipse">
              <a:avLst/>
            </a:prstGeom>
            <a:gradFill rotWithShape="1">
              <a:gsLst>
                <a:gs pos="0">
                  <a:srgbClr val="D6E1E2">
                    <a:alpha val="0"/>
                  </a:srgbClr>
                </a:gs>
                <a:gs pos="100000">
                  <a:srgbClr val="F1F5F5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</p:spPr>
          <p:txBody>
            <a:bodyPr vert="eaVert" wrap="none" anchor="ctr"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28" name="Oval 44"/>
            <p:cNvSpPr>
              <a:spLocks noChangeArrowheads="1"/>
            </p:cNvSpPr>
            <p:nvPr/>
          </p:nvSpPr>
          <p:spPr bwMode="gray">
            <a:xfrm>
              <a:off x="750" y="2125"/>
              <a:ext cx="781" cy="779"/>
            </a:xfrm>
            <a:prstGeom prst="ellipse">
              <a:avLst/>
            </a:prstGeom>
            <a:gradFill rotWithShape="1">
              <a:gsLst>
                <a:gs pos="0">
                  <a:srgbClr val="AAB2B3"/>
                </a:gs>
                <a:gs pos="100000">
                  <a:srgbClr val="D6E1E2">
                    <a:alpha val="48000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</p:spPr>
          <p:txBody>
            <a:bodyPr vert="eaVert" wrap="none" anchor="ctr"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29" name="Oval 45"/>
            <p:cNvSpPr>
              <a:spLocks noChangeArrowheads="1"/>
            </p:cNvSpPr>
            <p:nvPr/>
          </p:nvSpPr>
          <p:spPr bwMode="gray">
            <a:xfrm>
              <a:off x="794" y="2153"/>
              <a:ext cx="696" cy="625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6E1E2">
                    <a:alpha val="37999"/>
                  </a:srgbClr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</p:spPr>
          <p:txBody>
            <a:bodyPr vert="eaVert" wrap="none" anchor="ctr"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56361" name="Text Box 46"/>
            <p:cNvSpPr txBox="1">
              <a:spLocks noChangeArrowheads="1"/>
            </p:cNvSpPr>
            <p:nvPr/>
          </p:nvSpPr>
          <p:spPr bwMode="gray">
            <a:xfrm>
              <a:off x="793" y="2443"/>
              <a:ext cx="739" cy="2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1600" b="1" dirty="0" smtClean="0">
                  <a:solidFill>
                    <a:srgbClr val="000000"/>
                  </a:solidFill>
                </a:rPr>
                <a:t>45,430</a:t>
              </a: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Oval 47"/>
          <p:cNvSpPr>
            <a:spLocks noChangeArrowheads="1"/>
          </p:cNvSpPr>
          <p:nvPr/>
        </p:nvSpPr>
        <p:spPr bwMode="gray">
          <a:xfrm>
            <a:off x="8089515" y="5895975"/>
            <a:ext cx="525462" cy="504825"/>
          </a:xfrm>
          <a:prstGeom prst="ellipse">
            <a:avLst/>
          </a:prstGeom>
          <a:solidFill>
            <a:srgbClr val="0F2145">
              <a:alpha val="30196"/>
            </a:srgb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17" name="Oval 48"/>
          <p:cNvSpPr>
            <a:spLocks noChangeArrowheads="1"/>
          </p:cNvSpPr>
          <p:nvPr/>
        </p:nvSpPr>
        <p:spPr bwMode="gray">
          <a:xfrm>
            <a:off x="8091102" y="5362575"/>
            <a:ext cx="587375" cy="969962"/>
          </a:xfrm>
          <a:prstGeom prst="ellipse">
            <a:avLst/>
          </a:prstGeom>
          <a:gradFill rotWithShape="1">
            <a:gsLst>
              <a:gs pos="0">
                <a:srgbClr val="636869"/>
              </a:gs>
              <a:gs pos="100000">
                <a:srgbClr val="D6E1E2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vert="eaVert" wrap="none" anchor="ctr"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18" name="Oval 49"/>
          <p:cNvSpPr>
            <a:spLocks noChangeArrowheads="1"/>
          </p:cNvSpPr>
          <p:nvPr/>
        </p:nvSpPr>
        <p:spPr bwMode="gray">
          <a:xfrm>
            <a:off x="8140315" y="5367337"/>
            <a:ext cx="573087" cy="946150"/>
          </a:xfrm>
          <a:prstGeom prst="ellipse">
            <a:avLst/>
          </a:prstGeom>
          <a:gradFill rotWithShape="1">
            <a:gsLst>
              <a:gs pos="0">
                <a:srgbClr val="D6E1E2">
                  <a:alpha val="0"/>
                </a:srgbClr>
              </a:gs>
              <a:gs pos="100000">
                <a:srgbClr val="F1F5F5"/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vert="eaVert" wrap="none" anchor="ctr"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19" name="Oval 50"/>
          <p:cNvSpPr>
            <a:spLocks noChangeArrowheads="1"/>
          </p:cNvSpPr>
          <p:nvPr/>
        </p:nvSpPr>
        <p:spPr bwMode="gray">
          <a:xfrm>
            <a:off x="8148252" y="5376862"/>
            <a:ext cx="546100" cy="884238"/>
          </a:xfrm>
          <a:prstGeom prst="ellipse">
            <a:avLst/>
          </a:prstGeom>
          <a:gradFill rotWithShape="1">
            <a:gsLst>
              <a:gs pos="0">
                <a:srgbClr val="AAB2B3"/>
              </a:gs>
              <a:gs pos="100000">
                <a:srgbClr val="D6E1E2">
                  <a:alpha val="48000"/>
                </a:srgbClr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vert="eaVert" wrap="none" anchor="ctr"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20" name="Oval 51"/>
          <p:cNvSpPr>
            <a:spLocks noChangeArrowheads="1"/>
          </p:cNvSpPr>
          <p:nvPr/>
        </p:nvSpPr>
        <p:spPr bwMode="gray">
          <a:xfrm>
            <a:off x="8091102" y="5402262"/>
            <a:ext cx="485775" cy="715963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D6E1E2">
                  <a:alpha val="37999"/>
                </a:srgbClr>
              </a:gs>
            </a:gsLst>
            <a:lin ang="5400000" scaled="1"/>
          </a:gradFill>
          <a:ln w="9525" algn="ctr">
            <a:noFill/>
            <a:round/>
            <a:headEnd/>
            <a:tailEnd/>
          </a:ln>
        </p:spPr>
        <p:txBody>
          <a:bodyPr vert="eaVert" wrap="none" anchor="ctr"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56346" name="Text Box 52"/>
          <p:cNvSpPr txBox="1">
            <a:spLocks noChangeArrowheads="1"/>
          </p:cNvSpPr>
          <p:nvPr/>
        </p:nvSpPr>
        <p:spPr bwMode="gray">
          <a:xfrm>
            <a:off x="8001000" y="5715594"/>
            <a:ext cx="838200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rgbClr val="000000"/>
                </a:solidFill>
              </a:rPr>
              <a:t>24,400</a:t>
            </a:r>
            <a:endParaRPr lang="en-US" sz="1600" b="1" dirty="0"/>
          </a:p>
        </p:txBody>
      </p:sp>
      <p:sp>
        <p:nvSpPr>
          <p:cNvPr id="22" name="TextBox 21"/>
          <p:cNvSpPr txBox="1"/>
          <p:nvPr/>
        </p:nvSpPr>
        <p:spPr bwMode="auto">
          <a:xfrm>
            <a:off x="6450012" y="1749425"/>
            <a:ext cx="2160588" cy="40005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latin typeface="+mj-lt"/>
              </a:rPr>
              <a:t>Five Year </a:t>
            </a:r>
            <a:r>
              <a:rPr lang="en-US" sz="2000" b="1" dirty="0" smtClean="0">
                <a:latin typeface="+mj-lt"/>
              </a:rPr>
              <a:t>Plans, BE</a:t>
            </a:r>
            <a:endParaRPr lang="en-US" sz="2000" b="1" dirty="0">
              <a:latin typeface="+mj-lt"/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6429828" y="5712081"/>
            <a:ext cx="998263" cy="3077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+mj-lt"/>
              </a:rPr>
              <a:t>X Plan </a:t>
            </a:r>
          </a:p>
        </p:txBody>
      </p:sp>
      <p:sp>
        <p:nvSpPr>
          <p:cNvPr id="24" name="TextBox 23"/>
          <p:cNvSpPr txBox="1"/>
          <p:nvPr/>
        </p:nvSpPr>
        <p:spPr bwMode="auto">
          <a:xfrm>
            <a:off x="6477001" y="4492881"/>
            <a:ext cx="914400" cy="30771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+mj-lt"/>
              </a:rPr>
              <a:t>XI Plan</a:t>
            </a:r>
          </a:p>
        </p:txBody>
      </p:sp>
      <p:sp>
        <p:nvSpPr>
          <p:cNvPr id="25" name="TextBox 24"/>
          <p:cNvSpPr txBox="1"/>
          <p:nvPr/>
        </p:nvSpPr>
        <p:spPr bwMode="auto">
          <a:xfrm>
            <a:off x="6509658" y="3003551"/>
            <a:ext cx="838200" cy="3077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+mj-lt"/>
              </a:rPr>
              <a:t>XII Plan 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467600" y="1371600"/>
            <a:ext cx="167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 smtClean="0"/>
              <a:t>Rs. </a:t>
            </a:r>
            <a:r>
              <a:rPr lang="en-US" b="1" dirty="0" err="1" smtClean="0"/>
              <a:t>crore</a:t>
            </a:r>
            <a:endParaRPr lang="en-US" b="1" dirty="0"/>
          </a:p>
        </p:txBody>
      </p:sp>
      <p:graphicFrame>
        <p:nvGraphicFramePr>
          <p:cNvPr id="45" name="Table 44"/>
          <p:cNvGraphicFramePr>
            <a:graphicFrameLocks noGrp="1"/>
          </p:cNvGraphicFramePr>
          <p:nvPr/>
        </p:nvGraphicFramePr>
        <p:xfrm>
          <a:off x="576942" y="4953000"/>
          <a:ext cx="5105400" cy="1524000"/>
        </p:xfrm>
        <a:graphic>
          <a:graphicData uri="http://schemas.openxmlformats.org/drawingml/2006/table">
            <a:tbl>
              <a:tblPr firstRow="1">
                <a:tableStyleId>{EB344D84-9AFB-497E-A393-DC336BA19D2E}</a:tableStyleId>
              </a:tblPr>
              <a:tblGrid>
                <a:gridCol w="3209109"/>
                <a:gridCol w="1896291"/>
              </a:tblGrid>
              <a:tr h="381000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XII Plan CAPEX, Rs. </a:t>
                      </a:r>
                      <a:r>
                        <a:rPr lang="en-US" sz="2000" u="none" strike="noStrike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crore</a:t>
                      </a:r>
                      <a:endParaRPr lang="en-US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56,200</a:t>
                      </a:r>
                      <a:endParaRPr lang="en-US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marL="114300" indent="0" algn="l" defTabSz="914400" rtl="0" eaLnBrk="1" fontAlgn="b" latinLnBrk="0" hangingPunct="1"/>
                      <a:r>
                        <a:rPr lang="en-US" sz="2000" b="1" u="none" strike="noStrike" kern="1200" dirty="0"/>
                        <a:t>E&amp;P</a:t>
                      </a:r>
                      <a:endParaRPr lang="en-US" sz="2000" b="1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/>
                        <a:t>6,200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381000">
                <a:tc>
                  <a:txBody>
                    <a:bodyPr/>
                    <a:lstStyle/>
                    <a:p>
                      <a:pPr marL="114300" indent="0" algn="l" defTabSz="914400" rtl="0" eaLnBrk="1" fontAlgn="b" latinLnBrk="0" hangingPunct="1"/>
                      <a:r>
                        <a:rPr lang="en-US" sz="2000" b="1" u="none" strike="noStrike" kern="1200" dirty="0" smtClean="0"/>
                        <a:t>Refining</a:t>
                      </a:r>
                      <a:r>
                        <a:rPr lang="en-US" sz="2000" b="1" u="none" strike="noStrike" kern="1200" baseline="0" dirty="0" smtClean="0"/>
                        <a:t> &amp; Marketing</a:t>
                      </a:r>
                      <a:endParaRPr lang="en-US" sz="2000" b="1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/>
                        <a:t>41,456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381000">
                <a:tc>
                  <a:txBody>
                    <a:bodyPr/>
                    <a:lstStyle/>
                    <a:p>
                      <a:pPr marL="114300" indent="0" algn="l" defTabSz="914400" rtl="0" eaLnBrk="1" fontAlgn="b" latinLnBrk="0" hangingPunct="1"/>
                      <a:r>
                        <a:rPr lang="en-US" sz="2000" b="1" u="none" strike="noStrike" kern="1200" dirty="0"/>
                        <a:t>Petrochemicals</a:t>
                      </a:r>
                      <a:endParaRPr lang="en-US" sz="2000" b="1" u="none" strike="no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smtClean="0"/>
                        <a:t>8,544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46" name="Content Placeholder 2"/>
          <p:cNvSpPr>
            <a:spLocks noGrp="1"/>
          </p:cNvSpPr>
          <p:nvPr>
            <p:ph idx="1"/>
          </p:nvPr>
        </p:nvSpPr>
        <p:spPr>
          <a:xfrm>
            <a:off x="533400" y="1600200"/>
            <a:ext cx="5257800" cy="3048000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400" dirty="0" smtClean="0"/>
              <a:t>CAPEX of Rs</a:t>
            </a:r>
            <a:r>
              <a:rPr lang="en-US" sz="2400" dirty="0"/>
              <a:t>. 48,655 </a:t>
            </a:r>
            <a:r>
              <a:rPr lang="en-US" sz="2400" dirty="0" err="1"/>
              <a:t>crore</a:t>
            </a:r>
            <a:r>
              <a:rPr lang="en-US" sz="2400" dirty="0"/>
              <a:t> during XI </a:t>
            </a:r>
            <a:r>
              <a:rPr lang="en-US" sz="2400" dirty="0" smtClean="0"/>
              <a:t>Plan, 7.1% more than plan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2400" dirty="0" smtClean="0"/>
              <a:t>Budgeted Estimate (BE) of Rs. 56,200 </a:t>
            </a:r>
            <a:r>
              <a:rPr lang="en-US" sz="2400" dirty="0" err="1" smtClean="0"/>
              <a:t>crore</a:t>
            </a:r>
            <a:r>
              <a:rPr lang="en-US" sz="2400" dirty="0" smtClean="0"/>
              <a:t> in XII Plan</a:t>
            </a:r>
            <a:endParaRPr lang="en-US" sz="2400" dirty="0"/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dirty="0" smtClean="0"/>
              <a:t>Rs. 9378 </a:t>
            </a:r>
            <a:r>
              <a:rPr lang="en-US" sz="2200" dirty="0" err="1" smtClean="0"/>
              <a:t>crore</a:t>
            </a:r>
            <a:r>
              <a:rPr lang="en-US" sz="2200" dirty="0" smtClean="0"/>
              <a:t> in 2012-13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200" dirty="0" smtClean="0"/>
              <a:t>BE of Rs. 11,277 </a:t>
            </a:r>
            <a:r>
              <a:rPr lang="en-US" sz="2200" dirty="0" err="1" smtClean="0"/>
              <a:t>crore</a:t>
            </a:r>
            <a:r>
              <a:rPr lang="en-US" sz="2200" dirty="0" smtClean="0"/>
              <a:t> in 2013-14</a:t>
            </a:r>
            <a:endParaRPr lang="en-US" sz="22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Global agenda </a:t>
            </a:r>
            <a:r>
              <a:rPr lang="en-US" sz="2800" b="0" i="1" dirty="0" smtClean="0">
                <a:solidFill>
                  <a:srgbClr val="FF0000"/>
                </a:solidFill>
              </a:rPr>
              <a:t>– Beyond boundaries</a:t>
            </a:r>
            <a:endParaRPr lang="en-US" sz="2800" i="1" dirty="0" smtClean="0">
              <a:solidFill>
                <a:srgbClr val="FF0000"/>
              </a:solidFill>
            </a:endParaRPr>
          </a:p>
        </p:txBody>
      </p:sp>
      <p:sp>
        <p:nvSpPr>
          <p:cNvPr id="58373" name="Slide Number Placeholder 4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4E11960D-623D-4F1A-92B8-C22824E02A5C}" type="slidenum">
              <a:rPr lang="es-ES"/>
              <a:pPr/>
              <a:t>33</a:t>
            </a:fld>
            <a:endParaRPr lang="es-ES"/>
          </a:p>
        </p:txBody>
      </p:sp>
      <p:graphicFrame>
        <p:nvGraphicFramePr>
          <p:cNvPr id="1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mc="http://schemas.openxmlformats.org/markup-compatibility/2006" xmlns:mv="urn:schemas-microsoft-com:mac:vml" xmlns="" xmlns:p14="http://schemas.microsoft.com/office/powerpoint/2010/main" val="610302676"/>
              </p:ext>
            </p:extLst>
          </p:nvPr>
        </p:nvGraphicFramePr>
        <p:xfrm>
          <a:off x="152401" y="1524000"/>
          <a:ext cx="4800599" cy="381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Chart 8"/>
          <p:cNvGraphicFramePr/>
          <p:nvPr/>
        </p:nvGraphicFramePr>
        <p:xfrm>
          <a:off x="5334000" y="1600200"/>
          <a:ext cx="3028950" cy="175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" name="Chart 9"/>
          <p:cNvGraphicFramePr/>
          <p:nvPr/>
        </p:nvGraphicFramePr>
        <p:xfrm>
          <a:off x="5334000" y="3505200"/>
          <a:ext cx="3200400" cy="190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486400" y="1352490"/>
            <a:ext cx="2895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Turnover (Rs. </a:t>
            </a:r>
            <a:r>
              <a:rPr lang="en-US" sz="2000" b="1" dirty="0" err="1" smtClean="0"/>
              <a:t>crore</a:t>
            </a:r>
            <a:r>
              <a:rPr lang="en-US" sz="2000" b="1" dirty="0" smtClean="0"/>
              <a:t>)</a:t>
            </a:r>
            <a:endParaRPr lang="en-US" sz="20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381000" y="5579478"/>
            <a:ext cx="8305800" cy="1077218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Other overseas subsidiaries:</a:t>
            </a:r>
          </a:p>
          <a:p>
            <a:pPr>
              <a:defRPr/>
            </a:pP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OC Middle East FZE – Marketing of Lubricants and POL products</a:t>
            </a:r>
          </a:p>
          <a:p>
            <a:pPr algn="ctr">
              <a:defRPr/>
            </a:pP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OC Sweden AB and IOC (USA) Inc: Facilitating overseas upstream operations</a:t>
            </a:r>
            <a:endParaRPr lang="en-US" sz="20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22" name="Picture 2" descr="\\Cosnhr53558\d\data_j k kumar\My Documents\Photo Gallery\03-AOSN\20121206_153039.jpg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4648200" y="2438400"/>
            <a:ext cx="4179964" cy="27432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933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4060" y="2362200"/>
            <a:ext cx="4234586" cy="28194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60420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18E2EDB-754A-4DFF-BA80-16F5BC401F09}" type="slidenum">
              <a:rPr lang="es-ES"/>
              <a:pPr/>
              <a:t>34</a:t>
            </a:fld>
            <a:endParaRPr lang="es-ES"/>
          </a:p>
        </p:txBody>
      </p:sp>
      <p:sp>
        <p:nvSpPr>
          <p:cNvPr id="6042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SR </a:t>
            </a:r>
            <a:r>
              <a:rPr lang="en-US" sz="2800" b="0" i="1" dirty="0" smtClean="0">
                <a:solidFill>
                  <a:srgbClr val="FF0000"/>
                </a:solidFill>
              </a:rPr>
              <a:t>– Making a difference</a:t>
            </a:r>
          </a:p>
        </p:txBody>
      </p:sp>
      <p:sp>
        <p:nvSpPr>
          <p:cNvPr id="60423" name="TextBox 18"/>
          <p:cNvSpPr txBox="1">
            <a:spLocks noChangeArrowheads="1"/>
          </p:cNvSpPr>
          <p:nvPr/>
        </p:nvSpPr>
        <p:spPr bwMode="auto">
          <a:xfrm>
            <a:off x="1905000" y="1381125"/>
            <a:ext cx="54864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800" b="1">
                <a:solidFill>
                  <a:srgbClr val="FF0000"/>
                </a:solidFill>
              </a:rPr>
              <a:t>Assam Oil School of Nursing, Digboi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0" y="5798403"/>
            <a:ext cx="9144000" cy="830997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 girls successfully completed 4-year nursing course</a:t>
            </a:r>
          </a:p>
          <a:p>
            <a:pPr algn="ctr">
              <a:defRPr/>
            </a:pP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mulatively, 317 girls employed so far (100% success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quarter" idx="4294967295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>
              <a:defRPr/>
            </a:pPr>
            <a:fld id="{691EE796-92C1-448A-AEC9-376BB04110FA}" type="datetime1">
              <a:rPr lang="en-US"/>
              <a:pPr>
                <a:defRPr/>
              </a:pPr>
              <a:t>5/31/2013</a:t>
            </a:fld>
            <a:endParaRPr lang="es-ES" dirty="0"/>
          </a:p>
        </p:txBody>
      </p:sp>
      <p:sp>
        <p:nvSpPr>
          <p:cNvPr id="62467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F72AC15-B83F-4C67-9876-97BC26477E3D}" type="slidenum">
              <a:rPr lang="es-ES"/>
              <a:pPr/>
              <a:t>35</a:t>
            </a:fld>
            <a:endParaRPr lang="es-ES"/>
          </a:p>
        </p:txBody>
      </p:sp>
      <p:sp>
        <p:nvSpPr>
          <p:cNvPr id="6246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SR </a:t>
            </a:r>
            <a:r>
              <a:rPr lang="en-US" sz="2800" b="0" i="1" dirty="0" smtClean="0">
                <a:solidFill>
                  <a:srgbClr val="FF0000"/>
                </a:solidFill>
              </a:rPr>
              <a:t>– Extending care and support</a:t>
            </a:r>
          </a:p>
        </p:txBody>
      </p:sp>
      <p:pic>
        <p:nvPicPr>
          <p:cNvPr id="62469" name="Picture 2" descr="\\Cosnhr53558\d\data_j k kumar\My Documents\Photo Gallery\02-Scholarships-2012\Edu scholarship-201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38799" y="1570038"/>
            <a:ext cx="3070225" cy="20287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2472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375" y="5715000"/>
            <a:ext cx="2362200" cy="75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152400" y="1524000"/>
            <a:ext cx="4876800" cy="1752600"/>
            <a:chOff x="48530" y="65721"/>
            <a:chExt cx="4371070" cy="994137"/>
          </a:xfrm>
        </p:grpSpPr>
        <p:sp>
          <p:nvSpPr>
            <p:cNvPr id="12" name="Rounded Rectangle 11"/>
            <p:cNvSpPr/>
            <p:nvPr/>
          </p:nvSpPr>
          <p:spPr>
            <a:xfrm>
              <a:off x="75565" y="65721"/>
              <a:ext cx="4344035" cy="994137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ounded Rectangle 4"/>
            <p:cNvSpPr/>
            <p:nvPr/>
          </p:nvSpPr>
          <p:spPr>
            <a:xfrm>
              <a:off x="48530" y="114347"/>
              <a:ext cx="4245857" cy="8968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3820" tIns="83820" rIns="83820" bIns="83820" spcCol="1270" anchor="ctr"/>
            <a:lstStyle/>
            <a:p>
              <a:pPr marL="231775" indent="-231775" eaLnBrk="1" fontAlgn="auto" hangingPunct="1">
                <a:lnSpc>
                  <a:spcPct val="150000"/>
                </a:lnSpc>
                <a:spcAft>
                  <a:spcPts val="600"/>
                </a:spcAft>
                <a:buFont typeface="Arial" pitchFamily="34" charset="0"/>
                <a:buChar char="•"/>
                <a:defRPr/>
              </a:pPr>
              <a:r>
                <a:rPr lang="en-US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2600 educational scholarships</a:t>
              </a:r>
            </a:p>
            <a:p>
              <a:pPr marL="231775" indent="-231775">
                <a:lnSpc>
                  <a:spcPct val="150000"/>
                </a:lnSpc>
                <a:spcAft>
                  <a:spcPts val="600"/>
                </a:spcAft>
                <a:buFont typeface="Arial" pitchFamily="34" charset="0"/>
                <a:buChar char="•"/>
                <a:defRPr/>
              </a:pPr>
              <a:r>
                <a:rPr lang="en-US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Total cost: Rs. 11 </a:t>
              </a:r>
              <a:r>
                <a:rPr lang="en-US" sz="2400" b="1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rore</a:t>
              </a:r>
              <a:r>
                <a:rPr lang="en-US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in 2012-13</a:t>
              </a:r>
            </a:p>
          </p:txBody>
        </p:sp>
      </p:grpSp>
      <p:grpSp>
        <p:nvGrpSpPr>
          <p:cNvPr id="3" name="Group 13"/>
          <p:cNvGrpSpPr>
            <a:grpSpLocks/>
          </p:cNvGrpSpPr>
          <p:nvPr/>
        </p:nvGrpSpPr>
        <p:grpSpPr bwMode="auto">
          <a:xfrm>
            <a:off x="228600" y="3657600"/>
            <a:ext cx="4800600" cy="1752600"/>
            <a:chOff x="0" y="65721"/>
            <a:chExt cx="4343400" cy="994137"/>
          </a:xfrm>
        </p:grpSpPr>
        <p:sp>
          <p:nvSpPr>
            <p:cNvPr id="15" name="Rounded Rectangle 14"/>
            <p:cNvSpPr/>
            <p:nvPr/>
          </p:nvSpPr>
          <p:spPr>
            <a:xfrm>
              <a:off x="0" y="65721"/>
              <a:ext cx="4343400" cy="994137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ounded Rectangle 4"/>
            <p:cNvSpPr/>
            <p:nvPr/>
          </p:nvSpPr>
          <p:spPr>
            <a:xfrm>
              <a:off x="48835" y="114347"/>
              <a:ext cx="4245731" cy="8968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3820" tIns="83820" rIns="83820" bIns="83820" spcCol="1270" anchor="ctr"/>
            <a:lstStyle/>
            <a:p>
              <a:pPr>
                <a:defRPr/>
              </a:pPr>
              <a:endParaRPr lang="en-US" sz="20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marL="231775" indent="-231775"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US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52 Mobile Medical Units operational, linked to 52 </a:t>
              </a:r>
              <a:r>
                <a:rPr lang="en-US" sz="2400" b="1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Kisan</a:t>
              </a:r>
              <a:r>
                <a:rPr lang="en-US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r>
                <a:rPr lang="en-US" sz="2400" b="1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eva</a:t>
              </a:r>
              <a:r>
                <a:rPr lang="en-US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r>
                <a:rPr lang="en-US" sz="2400" b="1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Kendras</a:t>
              </a:r>
              <a:r>
                <a:rPr lang="en-US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in AP &amp; UP</a:t>
              </a:r>
            </a:p>
            <a:p>
              <a:pPr marL="231775" indent="-231775"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US" sz="2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Treated over 1 million patients</a:t>
              </a:r>
            </a:p>
            <a:p>
              <a:pPr eaLnBrk="1" fontAlgn="auto" hangingPunct="1">
                <a:spcAft>
                  <a:spcPts val="0"/>
                </a:spcAft>
                <a:defRPr/>
              </a:pPr>
              <a:endParaRPr lang="en-US" sz="2200" b="1" dirty="0"/>
            </a:p>
          </p:txBody>
        </p:sp>
      </p:grpSp>
      <p:pic>
        <p:nvPicPr>
          <p:cNvPr id="62475" name="Picture 4" descr="\\Cosnhr53558\d\data_j k kumar\My Documents\CSR\Projects\MMU\Photos_APSO\DSC_0106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14999" y="4117975"/>
            <a:ext cx="2994025" cy="21275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2476" name="Picture 1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608263" y="5715000"/>
            <a:ext cx="2538412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64517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C49818F-E12B-4434-B5D2-8C9915E044B5}" type="slidenum">
              <a:rPr lang="es-ES"/>
              <a:pPr/>
              <a:t>36</a:t>
            </a:fld>
            <a:endParaRPr lang="es-ES"/>
          </a:p>
        </p:txBody>
      </p:sp>
      <p:sp>
        <p:nvSpPr>
          <p:cNvPr id="7" name="Rectangle 6"/>
          <p:cNvSpPr/>
          <p:nvPr/>
        </p:nvSpPr>
        <p:spPr>
          <a:xfrm>
            <a:off x="3983792" y="3276600"/>
            <a:ext cx="3570208" cy="923330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sz="54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Financials</a:t>
            </a:r>
          </a:p>
        </p:txBody>
      </p:sp>
      <p:pic>
        <p:nvPicPr>
          <p:cNvPr id="64519" name="Picture 2" descr="https://encrypted-tbn3.google.com/images?q=tbn:ANd9GcS_5OraHx380noIzKuNrtn1-E6Nan2q4OuNwNi7wFYvEaFf5ANm4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1688" y="1447800"/>
            <a:ext cx="2114550" cy="1389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20" name="Picture 5" descr="C:\Users\00225501\Desktop\D(R&amp;D)'s Notes\Performance Highlights Book use for Photograph. 07.04.12\Refinery Techonology\Page No.0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1688" y="2836862"/>
            <a:ext cx="2114550" cy="127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2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8513" y="5310187"/>
            <a:ext cx="2114550" cy="121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22" name="Picture 2" descr="C:\Users\PRRPL_DGM\AppData\Local\Temp\Rar$DI45.612\DSC_0214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3275" y="4114800"/>
            <a:ext cx="2112963" cy="1189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7239000" y="1447815"/>
            <a:ext cx="1447800" cy="38098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b="1" dirty="0" smtClean="0">
                <a:latin typeface="+mj-lt"/>
              </a:rPr>
              <a:t>(Rs. </a:t>
            </a:r>
            <a:r>
              <a:rPr lang="en-US" sz="1800" b="1" dirty="0" err="1" smtClean="0">
                <a:latin typeface="+mj-lt"/>
              </a:rPr>
              <a:t>crore</a:t>
            </a:r>
            <a:r>
              <a:rPr lang="en-US" sz="1800" b="1" dirty="0" smtClean="0">
                <a:latin typeface="+mj-lt"/>
              </a:rPr>
              <a:t>)</a:t>
            </a:r>
            <a:endParaRPr lang="en-US" sz="1800" b="1" dirty="0">
              <a:latin typeface="+mj-lt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152400" y="1675519"/>
          <a:ext cx="5105400" cy="4953883"/>
        </p:xfrm>
        <a:graphic>
          <a:graphicData uri="http://schemas.openxmlformats.org/drawingml/2006/table">
            <a:tbl>
              <a:tblPr firstRow="1" lastRow="1">
                <a:tableStyleId>{6E25E649-3F16-4E02-A733-19D2CDBF48F0}</a:tableStyleId>
              </a:tblPr>
              <a:tblGrid>
                <a:gridCol w="1918262"/>
                <a:gridCol w="1138834"/>
                <a:gridCol w="1024152"/>
                <a:gridCol w="1024152"/>
              </a:tblGrid>
              <a:tr h="5665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 smtClean="0"/>
                        <a:t>Description</a:t>
                      </a:r>
                      <a:r>
                        <a:rPr lang="en-US" sz="2000" u="none" strike="noStrike" dirty="0"/>
                        <a:t> </a:t>
                      </a:r>
                      <a:endParaRPr lang="en-US" sz="2000" b="1" i="0" u="none" strike="noStrike" dirty="0">
                        <a:solidFill>
                          <a:srgbClr val="FFFF00"/>
                        </a:solidFill>
                        <a:latin typeface="+mj-lt"/>
                      </a:endParaRPr>
                    </a:p>
                  </a:txBody>
                  <a:tcPr marL="9525" marR="857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 smtClean="0"/>
                        <a:t>2011-12</a:t>
                      </a:r>
                      <a:endParaRPr lang="en-US" sz="2000" b="0" i="0" u="none" strike="noStrike" dirty="0">
                        <a:solidFill>
                          <a:srgbClr val="FFFF00"/>
                        </a:solidFill>
                        <a:latin typeface="+mj-lt"/>
                      </a:endParaRPr>
                    </a:p>
                  </a:txBody>
                  <a:tcPr marL="9525" marR="857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u="none" strike="noStrike" dirty="0" smtClean="0">
                          <a:solidFill>
                            <a:sysClr val="windowText" lastClr="000000"/>
                          </a:solidFill>
                        </a:rPr>
                        <a:t>2012-13</a:t>
                      </a:r>
                      <a:endParaRPr lang="en-US" sz="2000" b="1" u="none" strike="noStrike" dirty="0" smtClean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 marL="9525" marR="857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 smtClean="0"/>
                        <a:t>Var. (%) </a:t>
                      </a:r>
                      <a:endParaRPr lang="en-US" sz="2000" b="0" i="0" u="none" strike="noStrike" dirty="0">
                        <a:solidFill>
                          <a:srgbClr val="FFFF00"/>
                        </a:solidFill>
                        <a:latin typeface="+mj-lt"/>
                      </a:endParaRPr>
                    </a:p>
                  </a:txBody>
                  <a:tcPr marL="9525" marR="85725" marT="9525" marB="0" anchor="ctr"/>
                </a:tc>
              </a:tr>
              <a:tr h="8572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 dirty="0"/>
                        <a:t>Inland </a:t>
                      </a:r>
                      <a:r>
                        <a:rPr lang="en-US" sz="2000" u="none" strike="noStrike" dirty="0" smtClean="0"/>
                        <a:t>sales </a:t>
                      </a:r>
                      <a:r>
                        <a:rPr lang="en-US" sz="2000" u="none" strike="noStrike" dirty="0"/>
                        <a:t>&amp; </a:t>
                      </a:r>
                      <a:r>
                        <a:rPr lang="en-US" sz="2000" u="none" strike="noStrike" dirty="0" smtClean="0"/>
                        <a:t>exports 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/>
                        <a:t>313044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/>
                        <a:t>344484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 smtClean="0"/>
                        <a:t>9.6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/>
                </a:tc>
              </a:tr>
              <a:tr h="84545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 dirty="0"/>
                        <a:t>Product </a:t>
                      </a:r>
                      <a:r>
                        <a:rPr lang="en-US" sz="2000" u="none" strike="noStrike" dirty="0" smtClean="0"/>
                        <a:t>sales </a:t>
                      </a:r>
                      <a:r>
                        <a:rPr lang="en-US" sz="2000" u="none" strike="noStrike" dirty="0"/>
                        <a:t>to OMCs 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/>
                        <a:t>49255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/>
                        <a:t>52547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 smtClean="0"/>
                        <a:t>16.1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/>
                </a:tc>
              </a:tr>
              <a:tr h="43593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 dirty="0"/>
                        <a:t>Gas 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/>
                        <a:t>4059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/>
                        <a:t>6263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 smtClean="0"/>
                        <a:t>54.3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/>
                </a:tc>
              </a:tr>
              <a:tr h="5665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 dirty="0" smtClean="0"/>
                        <a:t>Petrochemicals 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/>
                        <a:t>11889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/>
                        <a:t>16533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 smtClean="0"/>
                        <a:t>39.1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/>
                </a:tc>
              </a:tr>
              <a:tr h="5578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/>
                        <a:t>Sub-Total 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/>
                        <a:t>378247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/>
                        <a:t>419827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 smtClean="0"/>
                        <a:t>11.0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/>
                </a:tc>
              </a:tr>
              <a:tr h="56654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 dirty="0" smtClean="0"/>
                        <a:t>Less: Discount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/>
                        <a:t>4321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/>
                        <a:t>4918</a:t>
                      </a:r>
                      <a:endParaRPr lang="en-IN" sz="20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 smtClean="0"/>
                        <a:t>13.8</a:t>
                      </a:r>
                      <a:endParaRPr lang="en-IN" sz="20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14300" marT="0" marB="0" anchor="ctr"/>
                </a:tc>
              </a:tr>
              <a:tr h="5578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 smtClean="0">
                          <a:solidFill>
                            <a:schemeClr val="bg1"/>
                          </a:solidFill>
                        </a:rPr>
                        <a:t>Total</a:t>
                      </a:r>
                      <a:endParaRPr lang="en-US" sz="2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>
                          <a:solidFill>
                            <a:schemeClr val="bg1"/>
                          </a:solidFill>
                        </a:rPr>
                        <a:t>373926</a:t>
                      </a:r>
                      <a:endParaRPr lang="en-IN" sz="2000" b="0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11430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>
                          <a:solidFill>
                            <a:sysClr val="windowText" lastClr="000000"/>
                          </a:solidFill>
                        </a:rPr>
                        <a:t>414909</a:t>
                      </a:r>
                      <a:endParaRPr lang="en-IN" sz="2000" b="1" i="0" u="none" strike="noStrike" dirty="0">
                        <a:solidFill>
                          <a:sysClr val="windowText" lastClr="000000"/>
                        </a:solidFill>
                        <a:latin typeface="+mj-lt"/>
                      </a:endParaRPr>
                    </a:p>
                  </a:txBody>
                  <a:tcPr marL="0" marR="114300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2000" u="none" strike="noStrike" dirty="0" smtClean="0">
                          <a:solidFill>
                            <a:schemeClr val="bg1"/>
                          </a:solidFill>
                        </a:rPr>
                        <a:t>11.0</a:t>
                      </a:r>
                      <a:endParaRPr lang="en-IN" sz="2000" b="0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114300" marT="0" marB="0" anchor="ctr"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609600" y="7315200"/>
            <a:ext cx="70866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j-lt"/>
              </a:rPr>
              <a:t>Quantity Variance </a:t>
            </a:r>
            <a:r>
              <a:rPr lang="en-US" sz="1600" dirty="0" smtClean="0">
                <a:latin typeface="Rupee Foradian" pitchFamily="34" charset="0"/>
              </a:rPr>
              <a:t>Rs </a:t>
            </a:r>
            <a:r>
              <a:rPr lang="en-US" sz="1600" dirty="0" smtClean="0">
                <a:latin typeface="+mj-lt"/>
              </a:rPr>
              <a:t>3038 crore and Price Variance of   Rs 37945 crore.</a:t>
            </a:r>
            <a:endParaRPr lang="en-US" sz="1600" dirty="0">
              <a:latin typeface="+mj-lt"/>
            </a:endParaRPr>
          </a:p>
        </p:txBody>
      </p:sp>
      <p:graphicFrame>
        <p:nvGraphicFramePr>
          <p:cNvPr id="12" name="Chart 11"/>
          <p:cNvGraphicFramePr/>
          <p:nvPr/>
        </p:nvGraphicFramePr>
        <p:xfrm>
          <a:off x="5181600" y="1600200"/>
          <a:ext cx="4114800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1"/>
          <p:cNvSpPr txBox="1"/>
          <p:nvPr/>
        </p:nvSpPr>
        <p:spPr>
          <a:xfrm>
            <a:off x="7010400" y="4648200"/>
            <a:ext cx="381000" cy="381000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Q-2</a:t>
            </a:r>
            <a:endParaRPr lang="en-US" sz="1600" b="1" dirty="0"/>
          </a:p>
        </p:txBody>
      </p:sp>
      <p:sp>
        <p:nvSpPr>
          <p:cNvPr id="13" name="TextBox 1"/>
          <p:cNvSpPr txBox="1"/>
          <p:nvPr/>
        </p:nvSpPr>
        <p:spPr>
          <a:xfrm>
            <a:off x="7010400" y="5410200"/>
            <a:ext cx="381000" cy="381000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Q-1</a:t>
            </a:r>
            <a:endParaRPr lang="en-US" sz="1600" b="1" dirty="0"/>
          </a:p>
        </p:txBody>
      </p:sp>
      <p:sp>
        <p:nvSpPr>
          <p:cNvPr id="15" name="TextBox 1"/>
          <p:cNvSpPr txBox="1"/>
          <p:nvPr/>
        </p:nvSpPr>
        <p:spPr>
          <a:xfrm>
            <a:off x="7010400" y="3810000"/>
            <a:ext cx="381000" cy="381000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Q-3</a:t>
            </a:r>
            <a:endParaRPr lang="en-US" sz="1600" b="1" dirty="0"/>
          </a:p>
        </p:txBody>
      </p:sp>
      <p:sp>
        <p:nvSpPr>
          <p:cNvPr id="18" name="TextBox 1"/>
          <p:cNvSpPr txBox="1"/>
          <p:nvPr/>
        </p:nvSpPr>
        <p:spPr>
          <a:xfrm>
            <a:off x="7010400" y="2895600"/>
            <a:ext cx="381000" cy="381000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/>
              <a:t>Q-4</a:t>
            </a:r>
            <a:endParaRPr lang="en-US" sz="1600" b="1" dirty="0"/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6A3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urnover </a:t>
            </a:r>
            <a:r>
              <a:rPr kumimoji="0" lang="en-US" sz="2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– Marching ahead</a:t>
            </a:r>
          </a:p>
        </p:txBody>
      </p:sp>
      <p:sp>
        <p:nvSpPr>
          <p:cNvPr id="21" name="AutoShape 19"/>
          <p:cNvSpPr>
            <a:spLocks noChangeArrowheads="1"/>
          </p:cNvSpPr>
          <p:nvPr/>
        </p:nvSpPr>
        <p:spPr bwMode="auto">
          <a:xfrm rot="20439727">
            <a:off x="6807160" y="2092836"/>
            <a:ext cx="772170" cy="574631"/>
          </a:xfrm>
          <a:prstGeom prst="rightArrow">
            <a:avLst>
              <a:gd name="adj1" fmla="val 50000"/>
              <a:gd name="adj2" fmla="val 50991"/>
            </a:avLst>
          </a:prstGeom>
          <a:solidFill>
            <a:srgbClr val="FF9900"/>
          </a:solidFill>
          <a:ln>
            <a:noFill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none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800" b="1" dirty="0" smtClean="0">
                <a:solidFill>
                  <a:schemeClr val="tx1"/>
                </a:solidFill>
                <a:cs typeface="Calibri" pitchFamily="34" charset="0"/>
              </a:rPr>
              <a:t>11%</a:t>
            </a:r>
            <a:endParaRPr lang="en-US" sz="1800" b="1" dirty="0">
              <a:solidFill>
                <a:schemeClr val="tx1"/>
              </a:solidFill>
              <a:cs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fit after tax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CF789B-7884-4AA6-B427-34A02065D031}" type="slidenum">
              <a:rPr lang="en-US" smtClean="0"/>
              <a:pPr/>
              <a:t>38</a:t>
            </a:fld>
            <a:endParaRPr lang="en-US"/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xmlns="" val="3335434253"/>
              </p:ext>
            </p:extLst>
          </p:nvPr>
        </p:nvGraphicFramePr>
        <p:xfrm>
          <a:off x="0" y="1371600"/>
          <a:ext cx="9144000" cy="5238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Chart bld="series"/>
        </p:bldSub>
      </p:bldGraphic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457200" y="1828799"/>
          <a:ext cx="8229600" cy="4754883"/>
        </p:xfrm>
        <a:graphic>
          <a:graphicData uri="http://schemas.openxmlformats.org/drawingml/2006/table">
            <a:tbl>
              <a:tblPr firstRow="1" lastRow="1">
                <a:tableStyleId>{6E25E649-3F16-4E02-A733-19D2CDBF48F0}</a:tableStyleId>
              </a:tblPr>
              <a:tblGrid>
                <a:gridCol w="4999290"/>
                <a:gridCol w="1615155"/>
                <a:gridCol w="1615155"/>
              </a:tblGrid>
              <a:tr h="484862">
                <a:tc>
                  <a:txBody>
                    <a:bodyPr/>
                    <a:lstStyle/>
                    <a:p>
                      <a:pPr algn="l" fontAlgn="ctr"/>
                      <a:r>
                        <a:rPr lang="en-US" sz="2200" u="none" strike="noStrike" dirty="0"/>
                        <a:t> </a:t>
                      </a:r>
                      <a:endParaRPr lang="en-US" sz="2200" b="1" i="0" u="none" strike="noStrike" dirty="0">
                        <a:solidFill>
                          <a:schemeClr val="tx1"/>
                        </a:solidFill>
                        <a:latin typeface="Cambria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200" kern="1200" dirty="0" smtClean="0"/>
                        <a:t>2011-12</a:t>
                      </a:r>
                      <a:endParaRPr lang="en-US" sz="2200" b="0" kern="1200" dirty="0">
                        <a:solidFill>
                          <a:schemeClr val="tx1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200" u="none" strike="noStrike" dirty="0" smtClean="0"/>
                        <a:t>2012-13</a:t>
                      </a:r>
                      <a:endParaRPr lang="en-US" sz="2200" b="0" u="none" strike="noStrike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525" marR="85725" marT="9525" marB="0" anchor="ctr"/>
                </a:tc>
              </a:tr>
              <a:tr h="471471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2200" u="none" strike="noStrike" dirty="0"/>
                        <a:t>Gross </a:t>
                      </a:r>
                      <a:r>
                        <a:rPr lang="en-IN" sz="2200" u="none" strike="noStrike" dirty="0" smtClean="0"/>
                        <a:t>Under-Recovery </a:t>
                      </a:r>
                      <a:endParaRPr lang="en-IN" sz="2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u="none" strike="noStrike" dirty="0" smtClean="0"/>
                        <a:t>75469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80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u="none" strike="noStrike" dirty="0" smtClean="0"/>
                        <a:t>85793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80000" marT="0" marB="0" anchor="ctr"/>
                </a:tc>
              </a:tr>
              <a:tr h="484862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2200" u="none" strike="noStrike" dirty="0" smtClean="0"/>
                        <a:t>Less: Compensation </a:t>
                      </a:r>
                      <a:endParaRPr lang="en-IN" sz="2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200" b="1" i="0" u="none" strike="noStrike" kern="1200" dirty="0" smtClean="0">
                        <a:solidFill>
                          <a:srgbClr val="00000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180000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200" b="1" i="0" u="none" strike="noStrike" kern="1200" dirty="0" smtClean="0">
                        <a:solidFill>
                          <a:srgbClr val="00000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180000" marT="9525" marB="0" anchor="ctr"/>
                </a:tc>
              </a:tr>
              <a:tr h="484862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2200" u="none" strike="noStrike" dirty="0"/>
                        <a:t>Discount from </a:t>
                      </a:r>
                      <a:r>
                        <a:rPr lang="en-IN" sz="2200" u="none" strike="noStrike" dirty="0" smtClean="0"/>
                        <a:t>upstream </a:t>
                      </a:r>
                      <a:r>
                        <a:rPr lang="en-IN" sz="2200" u="none" strike="noStrike" dirty="0"/>
                        <a:t>c</a:t>
                      </a:r>
                      <a:r>
                        <a:rPr lang="en-IN" sz="2200" u="none" strike="noStrike" dirty="0" smtClean="0"/>
                        <a:t>ompanies </a:t>
                      </a:r>
                      <a:endParaRPr lang="en-IN" sz="2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2200" u="none" strike="noStrike" kern="1200" dirty="0" smtClean="0"/>
                        <a:t>29961</a:t>
                      </a:r>
                      <a:endParaRPr lang="en-US" sz="2200" b="0" i="0" u="none" strike="noStrike" kern="1200" dirty="0" smtClean="0">
                        <a:solidFill>
                          <a:srgbClr val="00000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180000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2200" u="none" strike="noStrike" kern="1200" dirty="0" smtClean="0"/>
                        <a:t>31967</a:t>
                      </a:r>
                      <a:endParaRPr lang="en-US" sz="2200" b="0" i="0" u="none" strike="noStrike" kern="1200" dirty="0" smtClean="0">
                        <a:solidFill>
                          <a:srgbClr val="000000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180000" marT="9525" marB="0" anchor="ctr"/>
                </a:tc>
              </a:tr>
              <a:tr h="471471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2200" u="none" strike="noStrike" dirty="0" smtClean="0"/>
                        <a:t>Budgetary support from Govt.</a:t>
                      </a:r>
                      <a:endParaRPr lang="en-IN" sz="2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u="none" strike="noStrike" kern="1200" dirty="0" smtClean="0"/>
                        <a:t>45486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80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u="none" strike="noStrike" dirty="0" smtClean="0"/>
                        <a:t>53278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80000" marT="0" marB="0" anchor="ctr"/>
                </a:tc>
              </a:tr>
              <a:tr h="47147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200" b="0" u="none" strike="noStrike" dirty="0" smtClean="0"/>
                        <a:t>Total compensation</a:t>
                      </a:r>
                      <a:endParaRPr lang="en-IN" sz="2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b="0" u="none" strike="noStrike" dirty="0" smtClean="0"/>
                        <a:t>75447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80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b="0" u="none" strike="noStrike" dirty="0" smtClean="0"/>
                        <a:t>85245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80000" marT="0" marB="0" anchor="ctr"/>
                </a:tc>
              </a:tr>
              <a:tr h="471471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2200" b="1" u="none" strike="noStrike" dirty="0"/>
                        <a:t>Unmet </a:t>
                      </a:r>
                      <a:r>
                        <a:rPr lang="en-IN" sz="2200" b="1" u="none" strike="noStrike" dirty="0" smtClean="0"/>
                        <a:t>Under-Recovery</a:t>
                      </a:r>
                      <a:endParaRPr lang="en-IN" sz="22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b="1" u="none" strike="noStrike" dirty="0" smtClean="0"/>
                        <a:t>22</a:t>
                      </a:r>
                      <a:endParaRPr lang="en-US" sz="22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marL="0" marR="180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b="1" u="none" strike="noStrike" dirty="0" smtClean="0"/>
                        <a:t>548</a:t>
                      </a:r>
                      <a:endParaRPr lang="en-US" sz="22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marL="0" marR="180000" marT="0" marB="0" anchor="ctr"/>
                </a:tc>
              </a:tr>
              <a:tr h="471471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2200" u="none" strike="noStrike" dirty="0"/>
                        <a:t>% of Unmet </a:t>
                      </a:r>
                      <a:r>
                        <a:rPr lang="en-IN" sz="2200" u="none" strike="noStrike" dirty="0" smtClean="0"/>
                        <a:t>Under-Recovery</a:t>
                      </a:r>
                      <a:endParaRPr lang="en-IN" sz="2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u="none" strike="noStrike" dirty="0" smtClean="0"/>
                        <a:t>0.03%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80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u="none" strike="noStrike" dirty="0" smtClean="0"/>
                        <a:t>0.64%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180000" marT="0" marB="0" anchor="ctr"/>
                </a:tc>
              </a:tr>
              <a:tr h="471471"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2200" u="none" strike="noStrike" dirty="0" smtClean="0"/>
                        <a:t>Loss on MS (Due to non-revision of prices)</a:t>
                      </a:r>
                      <a:endParaRPr lang="en-IN" sz="22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marL="11430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u="none" strike="noStrike" dirty="0" smtClean="0"/>
                        <a:t>2203</a:t>
                      </a:r>
                      <a:endParaRPr lang="en-US" sz="22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marL="0" marR="180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u="none" strike="noStrike" dirty="0" smtClean="0"/>
                        <a:t>485</a:t>
                      </a:r>
                      <a:endParaRPr lang="en-US" sz="2200" b="1" i="0" u="none" strike="noStrike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marL="0" marR="180000" marT="0" marB="0" anchor="ctr"/>
                </a:tc>
              </a:tr>
              <a:tr h="47147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2200" kern="1200" dirty="0" smtClean="0">
                          <a:solidFill>
                            <a:schemeClr val="bg1"/>
                          </a:solidFill>
                        </a:rPr>
                        <a:t>Total Unmet U/R  (including loss on MS)</a:t>
                      </a:r>
                      <a:endParaRPr lang="en-IN" sz="22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430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u="none" strike="noStrike" dirty="0" smtClean="0">
                          <a:solidFill>
                            <a:schemeClr val="bg1"/>
                          </a:solidFill>
                        </a:rPr>
                        <a:t>2225</a:t>
                      </a:r>
                      <a:endParaRPr lang="en-US" sz="2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18000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200" u="none" strike="noStrike" dirty="0" smtClean="0">
                          <a:solidFill>
                            <a:schemeClr val="bg1"/>
                          </a:solidFill>
                        </a:rPr>
                        <a:t>1033</a:t>
                      </a:r>
                      <a:endParaRPr lang="en-US" sz="2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180000" marT="0" marB="0" anchor="ctr"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9" name="TextBox 1"/>
          <p:cNvSpPr txBox="1"/>
          <p:nvPr/>
        </p:nvSpPr>
        <p:spPr>
          <a:xfrm>
            <a:off x="7391400" y="1371615"/>
            <a:ext cx="1447800" cy="38098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b="1" dirty="0" smtClean="0">
                <a:latin typeface="+mj-lt"/>
              </a:rPr>
              <a:t>(Rs. </a:t>
            </a:r>
            <a:r>
              <a:rPr lang="en-US" sz="1800" b="1" dirty="0" err="1" smtClean="0">
                <a:latin typeface="+mj-lt"/>
              </a:rPr>
              <a:t>crore</a:t>
            </a:r>
            <a:r>
              <a:rPr lang="en-US" sz="1800" b="1" dirty="0" smtClean="0">
                <a:latin typeface="+mj-lt"/>
              </a:rPr>
              <a:t>)</a:t>
            </a:r>
            <a:endParaRPr lang="en-US" sz="1800" b="1" dirty="0">
              <a:latin typeface="+mj-lt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6A3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Under-recoveries </a:t>
            </a:r>
            <a:endParaRPr kumimoji="0" lang="en-US" sz="2800" b="0" i="1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onomy and oil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457200" y="5181600"/>
            <a:ext cx="8305800" cy="129540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sz="2400" dirty="0" smtClean="0"/>
              <a:t>Indian economy grows at 5%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400" dirty="0"/>
              <a:t>POL consumption @ 155.4 </a:t>
            </a:r>
            <a:r>
              <a:rPr lang="en-US" sz="2400" dirty="0" smtClean="0"/>
              <a:t>MMT</a:t>
            </a:r>
            <a:r>
              <a:rPr lang="en-US" sz="2400" dirty="0"/>
              <a:t> </a:t>
            </a:r>
            <a:r>
              <a:rPr lang="en-US" sz="2400" dirty="0" smtClean="0"/>
              <a:t>in 2012-13 from 148.1 MMT during 2011-12</a:t>
            </a:r>
            <a:endParaRPr lang="en-US" sz="2400" dirty="0"/>
          </a:p>
        </p:txBody>
      </p:sp>
      <p:sp>
        <p:nvSpPr>
          <p:cNvPr id="13316" name="Slide Number Placeholder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E1FABB4-FE3D-46E3-92F3-71909914C28E}" type="slidenum">
              <a:rPr lang="en-US"/>
              <a:pPr/>
              <a:t>4</a:t>
            </a:fld>
            <a:endParaRPr lang="en-US"/>
          </a:p>
        </p:txBody>
      </p:sp>
      <p:graphicFrame>
        <p:nvGraphicFramePr>
          <p:cNvPr id="7" name="Chart 6"/>
          <p:cNvGraphicFramePr/>
          <p:nvPr/>
        </p:nvGraphicFramePr>
        <p:xfrm>
          <a:off x="304800" y="1524000"/>
          <a:ext cx="8610600" cy="3467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rrow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CF789B-7884-4AA6-B427-34A02065D031}" type="slidenum">
              <a:rPr lang="en-US" smtClean="0"/>
              <a:pPr/>
              <a:t>40</a:t>
            </a:fld>
            <a:endParaRPr lang="en-US"/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xmlns="" val="3335434253"/>
              </p:ext>
            </p:extLst>
          </p:nvPr>
        </p:nvGraphicFramePr>
        <p:xfrm>
          <a:off x="228600" y="1524000"/>
          <a:ext cx="8610600" cy="5085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Sub>
          <a:bldChart bld="series"/>
        </p:bldSub>
      </p:bldGraphic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ribution to Exchequer</a:t>
            </a:r>
          </a:p>
        </p:txBody>
      </p:sp>
      <p:sp>
        <p:nvSpPr>
          <p:cNvPr id="75781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5A73B13-833A-4BFE-880C-D57F161F6A50}" type="slidenum">
              <a:rPr lang="es-ES"/>
              <a:pPr/>
              <a:t>41</a:t>
            </a:fld>
            <a:endParaRPr lang="es-ES"/>
          </a:p>
        </p:txBody>
      </p:sp>
      <p:graphicFrame>
        <p:nvGraphicFramePr>
          <p:cNvPr id="75782" name="Object 3"/>
          <p:cNvGraphicFramePr>
            <a:graphicFrameLocks noChangeAspect="1"/>
          </p:cNvGraphicFramePr>
          <p:nvPr/>
        </p:nvGraphicFramePr>
        <p:xfrm>
          <a:off x="776288" y="1506538"/>
          <a:ext cx="7867650" cy="4616450"/>
        </p:xfrm>
        <a:graphic>
          <a:graphicData uri="http://schemas.openxmlformats.org/presentationml/2006/ole">
            <p:oleObj spid="_x0000_s147458" name="Worksheet" r:id="rId4" imgW="7867802" imgH="4619549" progId="Excel.Sheet.8">
              <p:embed/>
            </p:oleObj>
          </a:graphicData>
        </a:graphic>
      </p:graphicFrame>
      <p:sp>
        <p:nvSpPr>
          <p:cNvPr id="7" name="TextBox 1"/>
          <p:cNvSpPr txBox="1"/>
          <p:nvPr/>
        </p:nvSpPr>
        <p:spPr>
          <a:xfrm>
            <a:off x="7391400" y="1371615"/>
            <a:ext cx="1447800" cy="38098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b="1" dirty="0" smtClean="0">
                <a:latin typeface="+mj-lt"/>
              </a:rPr>
              <a:t>(Rs. </a:t>
            </a:r>
            <a:r>
              <a:rPr lang="en-US" sz="1800" b="1" dirty="0" err="1" smtClean="0">
                <a:latin typeface="+mj-lt"/>
              </a:rPr>
              <a:t>crore</a:t>
            </a:r>
            <a:r>
              <a:rPr lang="en-US" sz="1800" b="1" dirty="0" smtClean="0">
                <a:latin typeface="+mj-lt"/>
              </a:rPr>
              <a:t>)</a:t>
            </a:r>
            <a:endParaRPr lang="en-US" sz="1800" b="1" dirty="0">
              <a:latin typeface="+mj-lt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77829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445E625-4B1B-4692-A1DD-75D738CBCFCE}" type="slidenum">
              <a:rPr lang="es-ES"/>
              <a:pPr/>
              <a:t>42</a:t>
            </a:fld>
            <a:endParaRPr lang="es-ES"/>
          </a:p>
        </p:txBody>
      </p:sp>
      <p:sp>
        <p:nvSpPr>
          <p:cNvPr id="7" name="Rectangle 6"/>
          <p:cNvSpPr/>
          <p:nvPr/>
        </p:nvSpPr>
        <p:spPr>
          <a:xfrm>
            <a:off x="3618309" y="3369766"/>
            <a:ext cx="4301178" cy="923330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sz="54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Open Forum</a:t>
            </a:r>
          </a:p>
        </p:txBody>
      </p:sp>
      <p:pic>
        <p:nvPicPr>
          <p:cNvPr id="77831" name="Picture 2" descr="https://encrypted-tbn3.google.com/images?q=tbn:ANd9GcS_5OraHx380noIzKuNrtn1-E6Nan2q4OuNwNi7wFYvEaFf5ANm4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1688" y="1319213"/>
            <a:ext cx="2114550" cy="1389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832" name="Picture 5" descr="C:\Users\00225501\Desktop\D(R&amp;D)'s Notes\Performance Highlights Book use for Photograph. 07.04.12\Refinery Techonology\Page No.0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1688" y="2708275"/>
            <a:ext cx="2114550" cy="127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83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8513" y="5181600"/>
            <a:ext cx="2114550" cy="121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834" name="Picture 2" descr="C:\Users\PRRPL_DGM\AppData\Local\Temp\Rar$DI45.612\DSC_0214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3275" y="3986213"/>
            <a:ext cx="2112963" cy="1189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dian oil and gas overview</a:t>
            </a:r>
          </a:p>
        </p:txBody>
      </p:sp>
      <p:sp>
        <p:nvSpPr>
          <p:cNvPr id="13316" name="Slide Number Placeholder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E1FABB4-FE3D-46E3-92F3-71909914C28E}" type="slidenum">
              <a:rPr lang="en-US"/>
              <a:pPr/>
              <a:t>5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4465637"/>
            <a:ext cx="8686800" cy="1858963"/>
          </a:xfrm>
        </p:spPr>
        <p:txBody>
          <a:bodyPr/>
          <a:lstStyle/>
          <a:p>
            <a:pPr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sz="2400" dirty="0" smtClean="0"/>
              <a:t>Crude </a:t>
            </a:r>
            <a:r>
              <a:rPr sz="2400" dirty="0"/>
              <a:t>imports (volume) - </a:t>
            </a:r>
            <a:r>
              <a:rPr lang="en-US" sz="2400" dirty="0"/>
              <a:t>CAGR </a:t>
            </a:r>
            <a:r>
              <a:rPr lang="en-US" sz="2400" dirty="0" smtClean="0"/>
              <a:t>9.2% since 2005-06</a:t>
            </a:r>
          </a:p>
          <a:p>
            <a:pPr lvl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000" dirty="0" smtClean="0"/>
              <a:t>Import </a:t>
            </a:r>
            <a:r>
              <a:rPr lang="en-US" sz="2000" dirty="0"/>
              <a:t>dependency </a:t>
            </a:r>
            <a:r>
              <a:rPr lang="en-US" sz="2000" dirty="0" smtClean="0"/>
              <a:t>about 77% from 76% in 2011-12</a:t>
            </a:r>
            <a:endParaRPr sz="2000" dirty="0"/>
          </a:p>
          <a:p>
            <a:pPr lvl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sz="2000" dirty="0"/>
              <a:t>Crude import </a:t>
            </a:r>
            <a:r>
              <a:rPr sz="2000" dirty="0" smtClean="0"/>
              <a:t>bill @ USD 144 billion - </a:t>
            </a:r>
            <a:r>
              <a:rPr lang="en-US" sz="2000" dirty="0" smtClean="0"/>
              <a:t>CAGR 20.6% </a:t>
            </a:r>
            <a:r>
              <a:rPr lang="en-US" sz="2000" dirty="0"/>
              <a:t>since </a:t>
            </a:r>
            <a:r>
              <a:rPr lang="en-US" sz="2000" dirty="0" smtClean="0"/>
              <a:t>2005-06</a:t>
            </a:r>
          </a:p>
          <a:p>
            <a:pPr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400" dirty="0" smtClean="0"/>
              <a:t>Domestic </a:t>
            </a:r>
            <a:r>
              <a:rPr lang="en-US" sz="2400" dirty="0"/>
              <a:t>oil production stagnant at ~38 MMT </a:t>
            </a:r>
          </a:p>
          <a:p>
            <a:pPr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2400" dirty="0" smtClean="0"/>
              <a:t>Gas </a:t>
            </a:r>
            <a:r>
              <a:rPr lang="en-US" sz="2400" dirty="0"/>
              <a:t>production </a:t>
            </a:r>
            <a:r>
              <a:rPr lang="en-US" sz="2400" dirty="0" smtClean="0"/>
              <a:t>declined to 40.7 BCM from 47.6 BCM in 2011-12</a:t>
            </a:r>
            <a:endParaRPr sz="2400" dirty="0"/>
          </a:p>
        </p:txBody>
      </p:sp>
      <p:graphicFrame>
        <p:nvGraphicFramePr>
          <p:cNvPr id="9" name="Chart 8"/>
          <p:cNvGraphicFramePr/>
          <p:nvPr/>
        </p:nvGraphicFramePr>
        <p:xfrm>
          <a:off x="381000" y="1447800"/>
          <a:ext cx="8458200" cy="30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/>
          <p:cNvGraphicFramePr>
            <a:graphicFrameLocks/>
          </p:cNvGraphicFramePr>
          <p:nvPr/>
        </p:nvGraphicFramePr>
        <p:xfrm>
          <a:off x="0" y="1447800"/>
          <a:ext cx="9144000" cy="41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il dynamics</a:t>
            </a:r>
          </a:p>
        </p:txBody>
      </p:sp>
      <p:sp>
        <p:nvSpPr>
          <p:cNvPr id="14339" name="Slide Number Placeholder 3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7542874-1491-420F-BCAC-CAB6A43E3C77}" type="slidenum">
              <a:rPr lang="en-US"/>
              <a:pPr/>
              <a:t>6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0" y="5819776"/>
            <a:ext cx="9144000" cy="830997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defPPr>
              <a:defRPr lang="en-US"/>
            </a:defPPr>
            <a:lvl1pPr algn="ctr">
              <a:defRPr sz="2400" b="1">
                <a:solidFill>
                  <a:srgbClr val="EEEE10"/>
                </a:solidFill>
              </a:defRPr>
            </a:lvl1pPr>
          </a:lstStyle>
          <a:p>
            <a:pPr>
              <a:defRPr/>
            </a:pPr>
            <a:r>
              <a:rPr lang="en-US" dirty="0" smtClean="0"/>
              <a:t>Moderation in Indian crude basket - Average price at USD 108/bbl vs. USD 112/bbl in FY 12</a:t>
            </a:r>
            <a:endParaRPr lang="en-US" dirty="0"/>
          </a:p>
        </p:txBody>
      </p:sp>
      <p:sp>
        <p:nvSpPr>
          <p:cNvPr id="9" name="Straight Connector 8"/>
          <p:cNvSpPr/>
          <p:nvPr/>
        </p:nvSpPr>
        <p:spPr>
          <a:xfrm>
            <a:off x="838200" y="2971800"/>
            <a:ext cx="8077200" cy="0"/>
          </a:xfrm>
          <a:prstGeom prst="line">
            <a:avLst/>
          </a:prstGeom>
          <a:ln w="381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581400" y="2907268"/>
            <a:ext cx="403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v. Indian Crude Basket: USD 108/ bbl</a:t>
            </a:r>
            <a:endParaRPr 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15364" name="Slide Number Placeholder 5"/>
          <p:cNvSpPr>
            <a:spLocks noGrp="1"/>
          </p:cNvSpPr>
          <p:nvPr>
            <p:ph type="sldNum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4416766-CDEB-4236-A839-C0E440D04B12}" type="slidenum">
              <a:rPr lang="es-ES"/>
              <a:pPr/>
              <a:t>7</a:t>
            </a:fld>
            <a:endParaRPr lang="es-ES"/>
          </a:p>
        </p:txBody>
      </p:sp>
      <p:sp>
        <p:nvSpPr>
          <p:cNvPr id="7" name="Rectangle 6"/>
          <p:cNvSpPr/>
          <p:nvPr/>
        </p:nvSpPr>
        <p:spPr>
          <a:xfrm>
            <a:off x="3417543" y="2708920"/>
            <a:ext cx="4702699" cy="2246769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60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At the core </a:t>
            </a:r>
            <a:r>
              <a:rPr lang="en-US" sz="60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of </a:t>
            </a:r>
          </a:p>
          <a:p>
            <a:pPr algn="ctr"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6000" b="1" dirty="0" err="1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IndianOil</a:t>
            </a:r>
            <a:endParaRPr lang="en-US" sz="60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pic>
        <p:nvPicPr>
          <p:cNvPr id="15366" name="Picture 17" descr="C:\Documents and Settings\00028479\My Documents\AK CPES\Annual Press Conf 2012\APC 2013\Photographs\APC photos_narang sir\Erection of  CDU column at PDRP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5800" y="1554162"/>
            <a:ext cx="2103438" cy="118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7" name="Picture 19" descr="C:\Documents and Settings\00028479\My Documents\AK CPES\Annual Press Conf 2012\APC 2013\Photographs\APC photos_narang sir\IndianOil Refinery at Panipat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5800" y="2773362"/>
            <a:ext cx="2103438" cy="118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8" name="Picture 20" descr="C:\Documents and Settings\00028479\My Documents\AK CPES\Annual Press Conf 2012\APC 2013\Photographs\APC photos_narang sir\IndianOil Retail Outlet at Leh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5800" y="3992562"/>
            <a:ext cx="2103438" cy="118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9" name="Picture 21" descr="C:\Documents and Settings\00028479\My Documents\AK CPES\Annual Press Conf 2012\APC 2013\Photographs\PL\New Folder\24122008428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5800" y="5211762"/>
            <a:ext cx="2103438" cy="118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dianOil </a:t>
            </a:r>
            <a:r>
              <a:rPr lang="en-US" sz="2800" b="0" i="1" dirty="0" smtClean="0">
                <a:solidFill>
                  <a:srgbClr val="FF0000"/>
                </a:solidFill>
              </a:rPr>
              <a:t>– A paragon in the sector</a:t>
            </a:r>
          </a:p>
        </p:txBody>
      </p:sp>
      <p:pic>
        <p:nvPicPr>
          <p:cNvPr id="17412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4988" y="4019550"/>
            <a:ext cx="1447800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" name="Rectangle 54"/>
          <p:cNvSpPr/>
          <p:nvPr/>
        </p:nvSpPr>
        <p:spPr>
          <a:xfrm>
            <a:off x="534988" y="5230813"/>
            <a:ext cx="1447800" cy="1203325"/>
          </a:xfrm>
          <a:prstGeom prst="rect">
            <a:avLst/>
          </a:prstGeom>
          <a:blipFill rotWithShape="0">
            <a:blip r:embed="rId4" cstate="print"/>
            <a:stretch>
              <a:fillRect/>
            </a:stretch>
          </a:blipFill>
          <a:effectLst/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aphicFrame>
        <p:nvGraphicFramePr>
          <p:cNvPr id="14" name="Content Placeholder 3"/>
          <p:cNvGraphicFramePr>
            <a:graphicFrameLocks noGrp="1"/>
          </p:cNvGraphicFramePr>
          <p:nvPr>
            <p:ph idx="1"/>
          </p:nvPr>
        </p:nvGraphicFramePr>
        <p:xfrm>
          <a:off x="457200" y="1509019"/>
          <a:ext cx="5029200" cy="22247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0" y="6470075"/>
            <a:ext cx="9144000" cy="369332"/>
          </a:xfrm>
          <a:prstGeom prst="rect">
            <a:avLst/>
          </a:prstGeom>
          <a:solidFill>
            <a:srgbClr val="A7A7F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n-US" b="1" dirty="0"/>
              <a:t>The highest ranked Indian Company in Fortune Global 500, 2012 listing: </a:t>
            </a:r>
            <a:r>
              <a:rPr lang="en-US" b="1" dirty="0">
                <a:solidFill>
                  <a:srgbClr val="FF0000"/>
                </a:solidFill>
              </a:rPr>
              <a:t>83</a:t>
            </a:r>
            <a:r>
              <a:rPr lang="en-US" b="1" baseline="30000" dirty="0">
                <a:solidFill>
                  <a:srgbClr val="FF0000"/>
                </a:solidFill>
              </a:rPr>
              <a:t>rd</a:t>
            </a:r>
            <a:r>
              <a:rPr lang="en-US" b="1" dirty="0">
                <a:solidFill>
                  <a:srgbClr val="FF0000"/>
                </a:solidFill>
              </a:rPr>
              <a:t> rank</a:t>
            </a:r>
            <a:endParaRPr lang="en-US" b="1" dirty="0"/>
          </a:p>
        </p:txBody>
      </p:sp>
      <p:pic>
        <p:nvPicPr>
          <p:cNvPr id="17422" name="Picture 2" descr="https://encrypted-tbn3.google.com/images?q=tbn:ANd9GcS_5OraHx380noIzKuNrtn1-E6Nan2q4OuNwNi7wFYvEaFf5ANm4A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982788" y="4038600"/>
            <a:ext cx="1449387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3" name="Picture 4" descr="https://encrypted-tbn2.google.com/images?q=tbn:ANd9GcSGnv3TG91AHB3M_2ul7yRbc-_ZXDDd1wyCNS5akOZEVfYIzxVEZ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982788" y="5262563"/>
            <a:ext cx="1412875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6" name="Content Placeholder 3"/>
          <p:cNvGraphicFramePr>
            <a:graphicFrameLocks/>
          </p:cNvGraphicFramePr>
          <p:nvPr/>
        </p:nvGraphicFramePr>
        <p:xfrm>
          <a:off x="3810000" y="3962400"/>
          <a:ext cx="5105400" cy="2514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pic>
        <p:nvPicPr>
          <p:cNvPr id="17" name="Picture 1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258050" y="2646363"/>
            <a:ext cx="1447800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231063" y="1371600"/>
            <a:ext cx="1463675" cy="1274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17" descr="C:\Documents and Settings\00028479\My Documents\AK CPES\Annual Press Conf 2012\APC 2013\Photographs\PL\DSC_0792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805488" y="2663825"/>
            <a:ext cx="1439862" cy="120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19" descr="C:\Documents and Settings\00028479\My Documents\AK CPES\Annual Press Conf 2012\APC 2013\Photographs\APC photos_narang sir\IndianOil Refinery at Haldia.jp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794375" y="1366838"/>
            <a:ext cx="1463675" cy="127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dianOil </a:t>
            </a:r>
            <a:r>
              <a:rPr lang="en-US" sz="2800" b="0" i="1" dirty="0" smtClean="0">
                <a:solidFill>
                  <a:srgbClr val="FF0000"/>
                </a:solidFill>
              </a:rPr>
              <a:t>– A paragon in the sector…</a:t>
            </a:r>
          </a:p>
        </p:txBody>
      </p:sp>
      <p:pic>
        <p:nvPicPr>
          <p:cNvPr id="1741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58050" y="2646363"/>
            <a:ext cx="1447800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2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4988" y="4019550"/>
            <a:ext cx="1447800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" name="Rectangle 54"/>
          <p:cNvSpPr/>
          <p:nvPr/>
        </p:nvSpPr>
        <p:spPr>
          <a:xfrm>
            <a:off x="534988" y="5230813"/>
            <a:ext cx="1447800" cy="1203325"/>
          </a:xfrm>
          <a:prstGeom prst="rect">
            <a:avLst/>
          </a:prstGeom>
          <a:blipFill rotWithShape="0">
            <a:blip r:embed="rId5" cstate="print"/>
            <a:stretch>
              <a:fillRect/>
            </a:stretch>
          </a:blipFill>
          <a:effectLst/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TextBox 12"/>
          <p:cNvSpPr txBox="1"/>
          <p:nvPr/>
        </p:nvSpPr>
        <p:spPr>
          <a:xfrm>
            <a:off x="0" y="6470075"/>
            <a:ext cx="9144000" cy="369332"/>
          </a:xfrm>
          <a:prstGeom prst="rect">
            <a:avLst/>
          </a:prstGeom>
          <a:solidFill>
            <a:srgbClr val="A7A7F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n-US" b="1" dirty="0"/>
              <a:t>The highest ranked Indian Company in Fortune Global 500, 2012 listing: </a:t>
            </a:r>
            <a:r>
              <a:rPr lang="en-US" b="1" dirty="0">
                <a:solidFill>
                  <a:srgbClr val="FF0000"/>
                </a:solidFill>
              </a:rPr>
              <a:t>83</a:t>
            </a:r>
            <a:r>
              <a:rPr lang="en-US" b="1" baseline="30000" dirty="0">
                <a:solidFill>
                  <a:srgbClr val="FF0000"/>
                </a:solidFill>
              </a:rPr>
              <a:t>rd</a:t>
            </a:r>
            <a:r>
              <a:rPr lang="en-US" b="1" dirty="0">
                <a:solidFill>
                  <a:srgbClr val="FF0000"/>
                </a:solidFill>
              </a:rPr>
              <a:t> rank</a:t>
            </a:r>
            <a:endParaRPr lang="en-US" b="1" dirty="0"/>
          </a:p>
        </p:txBody>
      </p:sp>
      <p:pic>
        <p:nvPicPr>
          <p:cNvPr id="17418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31063" y="1371600"/>
            <a:ext cx="1463675" cy="1274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9" name="Picture 17" descr="C:\Documents and Settings\00028479\My Documents\AK CPES\Annual Press Conf 2012\APC 2013\Photographs\PL\DSC_0792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805488" y="2663825"/>
            <a:ext cx="1439862" cy="120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0" name="Picture 19" descr="C:\Documents and Settings\00028479\My Documents\AK CPES\Annual Press Conf 2012\APC 2013\Photographs\APC photos_narang sir\IndianOil Refinery at Haldia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794375" y="1366838"/>
            <a:ext cx="1463675" cy="127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5" name="Content Placeholder 3"/>
          <p:cNvGraphicFramePr>
            <a:graphicFrameLocks/>
          </p:cNvGraphicFramePr>
          <p:nvPr/>
        </p:nvGraphicFramePr>
        <p:xfrm>
          <a:off x="3532908" y="4017818"/>
          <a:ext cx="5306291" cy="23352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17422" name="Picture 2" descr="https://encrypted-tbn3.google.com/images?q=tbn:ANd9GcS_5OraHx380noIzKuNrtn1-E6Nan2q4OuNwNi7wFYvEaFf5ANm4A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982788" y="4038600"/>
            <a:ext cx="1449387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3" name="Picture 4" descr="https://encrypted-tbn2.google.com/images?q=tbn:ANd9GcSGnv3TG91AHB3M_2ul7yRbc-_ZXDDd1wyCNS5akOZEVfYIzxVEZ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982788" y="5262563"/>
            <a:ext cx="1412875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" name="Content Placeholder 3"/>
          <p:cNvGraphicFramePr>
            <a:graphicFrameLocks/>
          </p:cNvGraphicFramePr>
          <p:nvPr/>
        </p:nvGraphicFramePr>
        <p:xfrm>
          <a:off x="457200" y="1447800"/>
          <a:ext cx="5181600" cy="23352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l8UhrVSkqRB1lM0hjn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l8UhrVSkqRB1lM0hjnFg"/>
</p:tagLst>
</file>

<file path=ppt/theme/theme1.xml><?xml version="1.0" encoding="utf-8"?>
<a:theme xmlns:a="http://schemas.openxmlformats.org/drawingml/2006/main" name="Business design slide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Template 1 [Compatibility Mode]" id="{46157714-6B0A-4355-8605-D7867B01D29C}" vid="{1DB6676B-1CAA-426C-AE1C-6BF14AE8362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Flow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Flow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Flow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Flow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&amp;BD Conclave PPT</Template>
  <TotalTime>8279</TotalTime>
  <Words>1839</Words>
  <Application>Microsoft Office PowerPoint</Application>
  <PresentationFormat>On-screen Show (4:3)</PresentationFormat>
  <Paragraphs>451</Paragraphs>
  <Slides>42</Slides>
  <Notes>4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2</vt:i4>
      </vt:variant>
    </vt:vector>
  </HeadingPairs>
  <TitlesOfParts>
    <vt:vector size="45" baseType="lpstr">
      <vt:lpstr>Business design slide</vt:lpstr>
      <vt:lpstr>Microsoft Office Excel 97-2003 Worksheet</vt:lpstr>
      <vt:lpstr>Worksheet</vt:lpstr>
      <vt:lpstr>Annual Press  Conference 2013 </vt:lpstr>
      <vt:lpstr>Structure of the presentation</vt:lpstr>
      <vt:lpstr>Slide 3</vt:lpstr>
      <vt:lpstr>Economy and oil</vt:lpstr>
      <vt:lpstr>Indian oil and gas overview</vt:lpstr>
      <vt:lpstr>Oil dynamics</vt:lpstr>
      <vt:lpstr>Slide 7</vt:lpstr>
      <vt:lpstr>IndianOil – A paragon in the sector</vt:lpstr>
      <vt:lpstr>IndianOil – A paragon in the sector…</vt:lpstr>
      <vt:lpstr>Slide 10</vt:lpstr>
      <vt:lpstr>IndianOil – Redefining growth</vt:lpstr>
      <vt:lpstr>Slide 12</vt:lpstr>
      <vt:lpstr>Refineries – Performance par excellence</vt:lpstr>
      <vt:lpstr>Refineries – Profitability through optimization</vt:lpstr>
      <vt:lpstr>Refineries – Forward agenda</vt:lpstr>
      <vt:lpstr>Pipelines – Resplendent networking</vt:lpstr>
      <vt:lpstr>Pipelines – Spreading wings</vt:lpstr>
      <vt:lpstr>Pipelines – Forward agenda</vt:lpstr>
      <vt:lpstr>Domestic growth(%) - Major POL products</vt:lpstr>
      <vt:lpstr>Marketing –  Effulgent performance</vt:lpstr>
      <vt:lpstr>Marketing – Making winning moves</vt:lpstr>
      <vt:lpstr>Marketing – Reaching out, touching lives</vt:lpstr>
      <vt:lpstr>Marketing –  Forward agenda</vt:lpstr>
      <vt:lpstr>R&amp;D – Class apart</vt:lpstr>
      <vt:lpstr>R&amp;D – Class apart</vt:lpstr>
      <vt:lpstr>PROPEL – Ideas for growing business</vt:lpstr>
      <vt:lpstr>Petrochemicals – Forward agenda</vt:lpstr>
      <vt:lpstr>Gas – Emerging as the fuel of choice</vt:lpstr>
      <vt:lpstr>Gas – Emerging as the fuel of choice…</vt:lpstr>
      <vt:lpstr>E&amp;P – A landmark year</vt:lpstr>
      <vt:lpstr>Clean energy – Towards a sustainable future </vt:lpstr>
      <vt:lpstr>CAPEX plans - Investing for a brighter  tomorrow</vt:lpstr>
      <vt:lpstr>Global agenda – Beyond boundaries</vt:lpstr>
      <vt:lpstr>CSR – Making a difference</vt:lpstr>
      <vt:lpstr>CSR – Extending care and support</vt:lpstr>
      <vt:lpstr>Slide 36</vt:lpstr>
      <vt:lpstr>Slide 37</vt:lpstr>
      <vt:lpstr>Profit after tax</vt:lpstr>
      <vt:lpstr>Slide 39</vt:lpstr>
      <vt:lpstr>Borrowings</vt:lpstr>
      <vt:lpstr>Contribution to Exchequer</vt:lpstr>
      <vt:lpstr>Slide 4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Business Communication]</dc:title>
  <dc:creator>Rahul Narang</dc:creator>
  <cp:lastModifiedBy>pecs31</cp:lastModifiedBy>
  <cp:revision>1095</cp:revision>
  <dcterms:created xsi:type="dcterms:W3CDTF">2013-02-04T00:18:43Z</dcterms:created>
  <dcterms:modified xsi:type="dcterms:W3CDTF">2013-05-31T10:44:0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103853789990</vt:lpwstr>
  </property>
</Properties>
</file>